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6"/>
  </p:notesMasterIdLst>
  <p:sldIdLst>
    <p:sldId id="481" r:id="rId2"/>
    <p:sldId id="1469" r:id="rId3"/>
    <p:sldId id="1470" r:id="rId4"/>
    <p:sldId id="1765" r:id="rId5"/>
    <p:sldId id="1899" r:id="rId6"/>
    <p:sldId id="1900" r:id="rId7"/>
    <p:sldId id="1901" r:id="rId8"/>
    <p:sldId id="1902" r:id="rId9"/>
    <p:sldId id="1903" r:id="rId10"/>
    <p:sldId id="1904" r:id="rId11"/>
    <p:sldId id="1844" r:id="rId12"/>
    <p:sldId id="1905" r:id="rId13"/>
    <p:sldId id="1906" r:id="rId14"/>
    <p:sldId id="1907" r:id="rId15"/>
    <p:sldId id="1908" r:id="rId16"/>
    <p:sldId id="1849" r:id="rId17"/>
    <p:sldId id="1760" r:id="rId18"/>
    <p:sldId id="1888" r:id="rId19"/>
    <p:sldId id="1889" r:id="rId20"/>
    <p:sldId id="1898" r:id="rId21"/>
    <p:sldId id="1846" r:id="rId22"/>
    <p:sldId id="1897" r:id="rId23"/>
    <p:sldId id="1802" r:id="rId24"/>
    <p:sldId id="1877" r:id="rId25"/>
    <p:sldId id="1878" r:id="rId26"/>
    <p:sldId id="1879" r:id="rId27"/>
    <p:sldId id="1880" r:id="rId28"/>
    <p:sldId id="1881" r:id="rId29"/>
    <p:sldId id="1882" r:id="rId30"/>
    <p:sldId id="1883" r:id="rId31"/>
    <p:sldId id="1884" r:id="rId32"/>
    <p:sldId id="1885" r:id="rId33"/>
    <p:sldId id="1886" r:id="rId34"/>
    <p:sldId id="1887" r:id="rId35"/>
  </p:sldIdLst>
  <p:sldSz cx="9144000" cy="6858000" type="screen4x3"/>
  <p:notesSz cx="6858000" cy="9144000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8F8F8"/>
    <a:srgbClr val="DDDDDD"/>
    <a:srgbClr val="CCECFF"/>
    <a:srgbClr val="969696"/>
    <a:srgbClr val="EAEAEA"/>
    <a:srgbClr val="FFCCFF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Estilo Mé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Estilo Mé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82" autoAdjust="0"/>
    <p:restoredTop sz="94434" autoAdjust="0"/>
  </p:normalViewPr>
  <p:slideViewPr>
    <p:cSldViewPr>
      <p:cViewPr varScale="1">
        <p:scale>
          <a:sx n="74" d="100"/>
          <a:sy n="74" d="100"/>
        </p:scale>
        <p:origin x="135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D2743B8-5D1F-4C83-8C6D-2EBC422E93BF}" type="datetimeFigureOut">
              <a:rPr lang="pt-BR"/>
              <a:pPr>
                <a:defRPr/>
              </a:pPr>
              <a:t>20/03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3726210-BF04-4767-8D3D-2B4B5D24292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77466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731754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16881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89992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43786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2248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9545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2110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357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0375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9071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1330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319779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1537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03864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3063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278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03580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203018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5814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2835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B46900-742D-4448-9A4F-B4F71AF6D1E5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886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FF74E-398B-4537-93DA-DE59C8C84B35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0674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406DF0-D46B-4125-A5A3-C338E9447CDA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0921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YRENO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1940" cy="204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1940" cy="20422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711030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CBF6C-1838-4D13-A497-B8E6723D9EFA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649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4069-F31D-40AD-BCD9-8410C17359A3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654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CB5E7-0A4D-4C24-A6E3-D91D49E3ADC2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1927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24176B-CDAA-452C-BC6F-3B632B62D1DC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177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4A38-AA09-40DA-A24D-4847E127FDAC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6212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A431-A6FC-4CCA-A5B3-3895A82E191E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889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F76244-BCBB-41CE-97CA-45F1C01061BC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197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64CFA-0DC3-4940-BA60-E97C1A6D435F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7623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92A5767-0F9A-4DFF-AC7C-98B2FFE1AE5E}" type="datetime1">
              <a:rPr lang="pt-BR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20/03/2015</a:t>
            </a:fld>
            <a:endParaRPr lang="pt-B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30E4081-97AA-496B-BD48-7AF9E6436C94}" type="slidenum">
              <a:rPr lang="pt-B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17481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5" r:id="rId12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9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1763688" y="3573016"/>
            <a:ext cx="5400600" cy="2318579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BRAINC – RJ</a:t>
            </a:r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9/3/2015</a:t>
            </a:r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772816"/>
            <a:ext cx="8027534" cy="1835114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35098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l" defTabSz="914145"/>
            <a:r>
              <a:rPr lang="pt-BR" sz="2400" kern="12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Tabela de Resp. -  CEF -  Acionamento das Garantias</a:t>
            </a:r>
            <a:endParaRPr lang="en-US" sz="2400" kern="12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3077" name="Retângulo 7"/>
          <p:cNvSpPr>
            <a:spLocks noChangeArrowheads="1"/>
          </p:cNvSpPr>
          <p:nvPr/>
        </p:nvSpPr>
        <p:spPr bwMode="auto">
          <a:xfrm>
            <a:off x="179512" y="692696"/>
            <a:ext cx="8764588" cy="529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/>
              </a:rPr>
              <a:t>Criação de ficha padrão para Vistoria de Entrega e Garant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/>
              </a:rPr>
              <a:t>Necessária constatação de manutenção preventiva</a:t>
            </a:r>
            <a:endParaRPr lang="pt-BR" sz="1700" dirty="0" smtClean="0">
              <a:latin typeface="BlissL" panose="02000506030000020004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/>
              </a:rPr>
              <a:t>Áreas Comuns:</a:t>
            </a:r>
            <a:r>
              <a:rPr lang="pt-BR" sz="1700" dirty="0" smtClean="0">
                <a:latin typeface="BlissL" panose="02000506030000020004"/>
              </a:rPr>
              <a:t> registrar em Convenção de Condomínio a obrigatoriedade das manutenções, com atestado de fiscal terceiriza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/>
              </a:rPr>
              <a:t>Áreas Privativas:</a:t>
            </a:r>
            <a:r>
              <a:rPr lang="pt-BR" sz="1700" dirty="0" smtClean="0">
                <a:latin typeface="BlissL" panose="02000506030000020004"/>
              </a:rPr>
              <a:t> será exigida a comprovação das manutenções que necessitam de profissional habilitado para execução para acionamento das garantia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/>
              </a:rPr>
              <a:t>V</a:t>
            </a:r>
            <a:r>
              <a:rPr lang="pt-BR" sz="1700" dirty="0" smtClean="0">
                <a:latin typeface="BlissL" panose="02000506030000020004"/>
              </a:rPr>
              <a:t>isita ou serviço com constatação de mau uso ou falta de manutenção, ressarcimento do incorporador pelos custos incorridos(viagens/visitas) por cliente ou CEF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/>
              </a:rPr>
              <a:t>Implantação de sistema informatizado de interface CEF, Incorporadores e Clientes: gerenciar processo de solicitação, mediação e execução das garanti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/>
            </a:endParaRPr>
          </a:p>
          <a:p>
            <a:r>
              <a:rPr lang="pt-BR" sz="1700" b="1" dirty="0">
                <a:latin typeface="BlissL" panose="02000506030000020004"/>
              </a:rPr>
              <a:t>Para o Programa MCMV – Faixa 1:</a:t>
            </a:r>
          </a:p>
          <a:p>
            <a:endParaRPr lang="pt-BR" sz="1700" dirty="0">
              <a:latin typeface="BlissL" panose="0200050603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/>
              </a:rPr>
              <a:t>CEF: contratação </a:t>
            </a:r>
            <a:r>
              <a:rPr lang="pt-BR" sz="1700" dirty="0">
                <a:latin typeface="BlissL" panose="02000506030000020004"/>
              </a:rPr>
              <a:t>de empresa de </a:t>
            </a:r>
            <a:r>
              <a:rPr lang="pt-BR" sz="1700" dirty="0" smtClean="0">
                <a:latin typeface="BlissL" panose="02000506030000020004"/>
              </a:rPr>
              <a:t>manutenção/ fiscalização que ateste manutenção </a:t>
            </a:r>
            <a:r>
              <a:rPr lang="pt-BR" sz="1700" dirty="0">
                <a:latin typeface="BlissL" panose="02000506030000020004"/>
              </a:rPr>
              <a:t>periód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/>
              </a:rPr>
              <a:t>Possibilidade de Contratação de Seguro Manutenção pelo condomín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/>
              </a:rPr>
              <a:t>Acionamento das garantias apenas com a comprovação de execução da manutenção</a:t>
            </a:r>
          </a:p>
          <a:p>
            <a:r>
              <a:rPr lang="pt-BR" sz="1700" dirty="0">
                <a:latin typeface="BlissL" panose="02000506030000020004"/>
              </a:rPr>
              <a:t> </a:t>
            </a:r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9512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/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7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07619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Atualizações RJ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articipação de </a:t>
            </a:r>
            <a:r>
              <a:rPr lang="pt-BR" sz="1700" dirty="0">
                <a:latin typeface="BlissL" panose="02000506030000020004" pitchFamily="2" charset="0"/>
              </a:rPr>
              <a:t>Juiz </a:t>
            </a:r>
            <a:r>
              <a:rPr lang="pt-BR" sz="1700" dirty="0" err="1">
                <a:latin typeface="BlissL" panose="02000506030000020004" pitchFamily="2" charset="0"/>
              </a:rPr>
              <a:t>Werson</a:t>
            </a:r>
            <a:r>
              <a:rPr lang="pt-BR" sz="1700" dirty="0">
                <a:latin typeface="BlissL" panose="02000506030000020004" pitchFamily="2" charset="0"/>
              </a:rPr>
              <a:t> Rego em reunião de Conselho </a:t>
            </a:r>
            <a:r>
              <a:rPr lang="pt-BR" sz="1700" dirty="0" smtClean="0">
                <a:latin typeface="BlissL" panose="02000506030000020004" pitchFamily="2" charset="0"/>
              </a:rPr>
              <a:t>Deliberativo da ABRAINC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O</a:t>
            </a:r>
            <a:r>
              <a:rPr lang="pt-BR" sz="1700" dirty="0" smtClean="0">
                <a:latin typeface="BlissL" panose="02000506030000020004" pitchFamily="2" charset="0"/>
              </a:rPr>
              <a:t>brigatoriedade </a:t>
            </a:r>
            <a:r>
              <a:rPr lang="pt-BR" sz="1700" dirty="0">
                <a:latin typeface="BlissL" panose="02000506030000020004" pitchFamily="2" charset="0"/>
              </a:rPr>
              <a:t>da baixa do Patrimônio de Afetação com o Habite-se pelos cartórios RJ – conforme discutido, trata-se de questão que deverá ter seu encaminhamento pela </a:t>
            </a:r>
            <a:r>
              <a:rPr lang="pt-BR" sz="1700" dirty="0" smtClean="0">
                <a:latin typeface="BlissL" panose="02000506030000020004" pitchFamily="2" charset="0"/>
              </a:rPr>
              <a:t>ADEMI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DEMI-RJ:  </a:t>
            </a:r>
            <a:r>
              <a:rPr lang="pt-BR" sz="1700" dirty="0">
                <a:latin typeface="BlissL" panose="02000506030000020004" pitchFamily="2" charset="0"/>
              </a:rPr>
              <a:t>acesso à Secretaria de Fazenda do RJ pela descentralização do recolhimento do ITBI, hoje exclusivamente em única agência do Santander.  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nspeções </a:t>
            </a:r>
            <a:r>
              <a:rPr lang="pt-BR" sz="1700" dirty="0">
                <a:latin typeface="BlissL" panose="02000506030000020004" pitchFamily="2" charset="0"/>
              </a:rPr>
              <a:t>de trabalho: questões referentes a revista na saída; relatada invasão em São Gonçalo com participação no MTST, ainda sem solução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Doações </a:t>
            </a:r>
            <a:r>
              <a:rPr lang="pt-BR" sz="1700" b="1" dirty="0" smtClean="0">
                <a:latin typeface="BlissL" panose="02000506030000020004" pitchFamily="2" charset="0"/>
              </a:rPr>
              <a:t> Região Serrana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Última atualização com 42% de obras, 50% de desembolso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as </a:t>
            </a:r>
            <a:r>
              <a:rPr lang="pt-BR" sz="1700" dirty="0">
                <a:latin typeface="BlissL" panose="02000506030000020004" pitchFamily="2" charset="0"/>
              </a:rPr>
              <a:t>694 casas previstas no contrato final, 153 prontas, 318 em obras e 223 não iniciada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versa </a:t>
            </a:r>
            <a:r>
              <a:rPr lang="pt-BR" sz="1700" dirty="0">
                <a:latin typeface="BlissL" panose="02000506030000020004" pitchFamily="2" charset="0"/>
              </a:rPr>
              <a:t>em 19/2 com Assessor do governo do estado Paulo Fernando sobre o assunto. Email </a:t>
            </a:r>
            <a:r>
              <a:rPr lang="pt-BR" sz="1700" dirty="0" smtClean="0">
                <a:latin typeface="BlissL" panose="02000506030000020004" pitchFamily="2" charset="0"/>
              </a:rPr>
              <a:t>enviado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tualizações/ Destaques – ABRAINC 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7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7</a:t>
            </a:r>
            <a:endParaRPr lang="en-US" sz="105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30180698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539552" y="908720"/>
            <a:ext cx="8111876" cy="398057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6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Questões</a:t>
            </a:r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o </a:t>
            </a:r>
            <a:r>
              <a:rPr lang="en-US" sz="36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Trabalho</a:t>
            </a:r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4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0835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5466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Petição encaminhada ao STJ no final do ano - Liminar concedida; possível julgamento pelo Plenário a partir de fevereiro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osicionamento ABRAINC:</a:t>
            </a:r>
            <a:endParaRPr lang="pt-BR" sz="1700" b="1" i="1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ementemente contra o trabalho escravo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conhecimento </a:t>
            </a:r>
            <a:r>
              <a:rPr lang="pt-BR" sz="1700" dirty="0">
                <a:latin typeface="BlissL" panose="02000506030000020004" pitchFamily="2" charset="0"/>
              </a:rPr>
              <a:t>da importância das ferramentas de </a:t>
            </a:r>
            <a:r>
              <a:rPr lang="pt-BR" sz="1700" dirty="0" smtClean="0">
                <a:latin typeface="BlissL" panose="02000506030000020004" pitchFamily="2" charset="0"/>
              </a:rPr>
              <a:t>controle/ Cadastro </a:t>
            </a:r>
            <a:r>
              <a:rPr lang="pt-BR" sz="1700" dirty="0">
                <a:latin typeface="BlissL" panose="02000506030000020004" pitchFamily="2" charset="0"/>
              </a:rPr>
              <a:t>de Empregadores.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perfeiçoamentos necessário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1 - Definições </a:t>
            </a:r>
            <a:r>
              <a:rPr lang="pt-BR" sz="1700" b="1" dirty="0">
                <a:latin typeface="BlissL" panose="02000506030000020004" pitchFamily="2" charset="0"/>
              </a:rPr>
              <a:t>do que seja o trabalho análogo à escravidão </a:t>
            </a:r>
            <a:r>
              <a:rPr lang="pt-BR" sz="1700" b="1" dirty="0" smtClean="0">
                <a:latin typeface="BlissL" panose="02000506030000020004" pitchFamily="2" charset="0"/>
              </a:rPr>
              <a:t>aperfeiçoadas </a:t>
            </a:r>
            <a:r>
              <a:rPr lang="pt-BR" sz="1700" dirty="0" smtClean="0">
                <a:latin typeface="BlissL" panose="02000506030000020004" pitchFamily="2" charset="0"/>
              </a:rPr>
              <a:t>- lei </a:t>
            </a:r>
            <a:r>
              <a:rPr lang="pt-BR" sz="1700" dirty="0">
                <a:latin typeface="BlissL" panose="02000506030000020004" pitchFamily="2" charset="0"/>
              </a:rPr>
              <a:t>que </a:t>
            </a:r>
            <a:r>
              <a:rPr lang="pt-BR" sz="1700" dirty="0" smtClean="0">
                <a:latin typeface="BlissL" panose="02000506030000020004" pitchFamily="2" charset="0"/>
              </a:rPr>
              <a:t>esclareça distinção a infrações </a:t>
            </a:r>
            <a:r>
              <a:rPr lang="pt-BR" sz="1700" dirty="0">
                <a:latin typeface="BlissL" panose="02000506030000020004" pitchFamily="2" charset="0"/>
              </a:rPr>
              <a:t>de natureza </a:t>
            </a:r>
            <a:r>
              <a:rPr lang="pt-BR" sz="1700" dirty="0" smtClean="0">
                <a:latin typeface="BlissL" panose="02000506030000020004" pitchFamily="2" charset="0"/>
              </a:rPr>
              <a:t>trabalhista. PL em discussão:</a:t>
            </a:r>
          </a:p>
          <a:p>
            <a:endParaRPr lang="pt-BR" sz="1600" dirty="0" smtClean="0"/>
          </a:p>
          <a:p>
            <a:r>
              <a:rPr lang="pt-BR" sz="1600" dirty="0" smtClean="0"/>
              <a:t>1</a:t>
            </a:r>
            <a:r>
              <a:rPr lang="pt-BR" sz="1600" dirty="0">
                <a:latin typeface="BlissL" panose="02000506030000020004" pitchFamily="2" charset="0"/>
              </a:rPr>
              <a:t>) </a:t>
            </a:r>
            <a:r>
              <a:rPr lang="pt-BR" sz="1600" dirty="0" smtClean="0">
                <a:latin typeface="BlissL" panose="02000506030000020004" pitchFamily="2" charset="0"/>
              </a:rPr>
              <a:t>submissão </a:t>
            </a:r>
            <a:r>
              <a:rPr lang="pt-BR" sz="1600" dirty="0">
                <a:latin typeface="BlissL" panose="02000506030000020004" pitchFamily="2" charset="0"/>
              </a:rPr>
              <a:t>a trabalho forçado, </a:t>
            </a:r>
            <a:r>
              <a:rPr lang="pt-BR" sz="1600" dirty="0" smtClean="0">
                <a:latin typeface="BlissL" panose="02000506030000020004" pitchFamily="2" charset="0"/>
              </a:rPr>
              <a:t>com ameaça </a:t>
            </a:r>
            <a:r>
              <a:rPr lang="pt-BR" sz="1600" dirty="0">
                <a:latin typeface="BlissL" panose="02000506030000020004" pitchFamily="2" charset="0"/>
              </a:rPr>
              <a:t>de punição, com </a:t>
            </a:r>
            <a:r>
              <a:rPr lang="pt-BR" sz="1600" dirty="0" smtClean="0">
                <a:latin typeface="BlissL" panose="02000506030000020004" pitchFamily="2" charset="0"/>
              </a:rPr>
              <a:t>coação </a:t>
            </a:r>
            <a:r>
              <a:rPr lang="pt-BR" sz="1600" dirty="0">
                <a:latin typeface="BlissL" panose="02000506030000020004" pitchFamily="2" charset="0"/>
              </a:rPr>
              <a:t>ou </a:t>
            </a:r>
            <a:r>
              <a:rPr lang="pt-BR" sz="1600" dirty="0" smtClean="0">
                <a:latin typeface="BlissL" panose="02000506030000020004" pitchFamily="2" charset="0"/>
              </a:rPr>
              <a:t>restrição </a:t>
            </a:r>
            <a:r>
              <a:rPr lang="pt-BR" sz="1600" dirty="0">
                <a:latin typeface="BlissL" panose="02000506030000020004" pitchFamily="2" charset="0"/>
              </a:rPr>
              <a:t>da liberdade pessoal; </a:t>
            </a:r>
          </a:p>
          <a:p>
            <a:r>
              <a:rPr lang="pt-BR" sz="1600" dirty="0">
                <a:latin typeface="BlissL" panose="02000506030000020004" pitchFamily="2" charset="0"/>
              </a:rPr>
              <a:t>2) </a:t>
            </a:r>
            <a:r>
              <a:rPr lang="pt-BR" sz="1600" dirty="0" smtClean="0">
                <a:latin typeface="BlissL" panose="02000506030000020004" pitchFamily="2" charset="0"/>
              </a:rPr>
              <a:t>cerceamento </a:t>
            </a:r>
            <a:r>
              <a:rPr lang="pt-BR" sz="1600" dirty="0">
                <a:latin typeface="BlissL" panose="02000506030000020004" pitchFamily="2" charset="0"/>
              </a:rPr>
              <a:t>do uso de </a:t>
            </a:r>
            <a:r>
              <a:rPr lang="pt-BR" sz="1600" dirty="0" smtClean="0">
                <a:latin typeface="BlissL" panose="02000506030000020004" pitchFamily="2" charset="0"/>
              </a:rPr>
              <a:t>meio </a:t>
            </a:r>
            <a:r>
              <a:rPr lang="pt-BR" sz="1600" dirty="0">
                <a:latin typeface="BlissL" panose="02000506030000020004" pitchFamily="2" charset="0"/>
              </a:rPr>
              <a:t>de transporte </a:t>
            </a:r>
            <a:r>
              <a:rPr lang="pt-BR" sz="1600" dirty="0" smtClean="0">
                <a:latin typeface="BlissL" panose="02000506030000020004" pitchFamily="2" charset="0"/>
              </a:rPr>
              <a:t>pelo </a:t>
            </a:r>
            <a:r>
              <a:rPr lang="pt-BR" sz="1600" dirty="0">
                <a:latin typeface="BlissL" panose="02000506030000020004" pitchFamily="2" charset="0"/>
              </a:rPr>
              <a:t>trabalhador, com o fim de retê-lo no local de trabalho; </a:t>
            </a:r>
          </a:p>
          <a:p>
            <a:r>
              <a:rPr lang="pt-BR" sz="1600" dirty="0">
                <a:latin typeface="BlissL" panose="02000506030000020004" pitchFamily="2" charset="0"/>
              </a:rPr>
              <a:t>3) </a:t>
            </a:r>
            <a:r>
              <a:rPr lang="pt-BR" sz="1600" dirty="0" smtClean="0">
                <a:latin typeface="BlissL" panose="02000506030000020004" pitchFamily="2" charset="0"/>
              </a:rPr>
              <a:t>manutenção </a:t>
            </a:r>
            <a:r>
              <a:rPr lang="pt-BR" sz="1600" dirty="0">
                <a:latin typeface="BlissL" panose="02000506030000020004" pitchFamily="2" charset="0"/>
              </a:rPr>
              <a:t>de vigilância ostensiva no local de trabalho ou a apropriação de documentos ou objetos pessoais do trabalhador, com o fim de retê-lo no local de trabalho; e </a:t>
            </a:r>
          </a:p>
          <a:p>
            <a:r>
              <a:rPr lang="pt-BR" sz="1600" dirty="0">
                <a:latin typeface="BlissL" panose="02000506030000020004" pitchFamily="2" charset="0"/>
              </a:rPr>
              <a:t>4) a </a:t>
            </a:r>
            <a:r>
              <a:rPr lang="pt-BR" sz="1600" dirty="0" smtClean="0">
                <a:latin typeface="BlissL" panose="02000506030000020004" pitchFamily="2" charset="0"/>
              </a:rPr>
              <a:t>restrição </a:t>
            </a:r>
            <a:r>
              <a:rPr lang="pt-BR" sz="1600" dirty="0">
                <a:latin typeface="BlissL" panose="02000506030000020004" pitchFamily="2" charset="0"/>
              </a:rPr>
              <a:t>da locomoção do trabalhador em razão de dívida contraída com empregador ou prepost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- Aperfeiçoamento do rito </a:t>
            </a:r>
            <a:r>
              <a:rPr lang="pt-BR" sz="1700" dirty="0" smtClean="0">
                <a:latin typeface="BlissL" panose="02000506030000020004" pitchFamily="2" charset="0"/>
              </a:rPr>
              <a:t>- o processo </a:t>
            </a:r>
            <a:r>
              <a:rPr lang="pt-BR" sz="1700" dirty="0">
                <a:latin typeface="BlissL" panose="02000506030000020004" pitchFamily="2" charset="0"/>
              </a:rPr>
              <a:t>de inclusão </a:t>
            </a:r>
            <a:r>
              <a:rPr lang="pt-BR" sz="1700" dirty="0" smtClean="0">
                <a:latin typeface="BlissL" panose="02000506030000020004" pitchFamily="2" charset="0"/>
              </a:rPr>
              <a:t>se </a:t>
            </a:r>
            <a:r>
              <a:rPr lang="pt-BR" sz="1700" dirty="0">
                <a:latin typeface="BlissL" panose="02000506030000020004" pitchFamily="2" charset="0"/>
              </a:rPr>
              <a:t>dá sem a adequada transparência e </a:t>
            </a:r>
            <a:r>
              <a:rPr lang="pt-BR" sz="1700" dirty="0" smtClean="0">
                <a:latin typeface="BlissL" panose="02000506030000020004" pitchFamily="2" charset="0"/>
              </a:rPr>
              <a:t>pleno </a:t>
            </a:r>
            <a:r>
              <a:rPr lang="pt-BR" sz="1700" dirty="0">
                <a:latin typeface="BlissL" panose="02000506030000020004" pitchFamily="2" charset="0"/>
              </a:rPr>
              <a:t>direito de defesa. As empresas ficam sujeitas ao entendimento do Ministério do </a:t>
            </a:r>
            <a:r>
              <a:rPr lang="pt-BR" sz="1700" dirty="0" smtClean="0">
                <a:latin typeface="BlissL" panose="02000506030000020004" pitchFamily="2" charset="0"/>
              </a:rPr>
              <a:t>Trabalho. Portaria interministerial por procedimento adm. </a:t>
            </a:r>
            <a:r>
              <a:rPr lang="pt-BR" sz="1700" dirty="0">
                <a:latin typeface="BlissL" panose="02000506030000020004" pitchFamily="2" charset="0"/>
              </a:rPr>
              <a:t>da inclusão (diferente do procedimento </a:t>
            </a:r>
            <a:r>
              <a:rPr lang="pt-BR" sz="1700" dirty="0" smtClean="0">
                <a:latin typeface="BlissL" panose="02000506030000020004" pitchFamily="2" charset="0"/>
              </a:rPr>
              <a:t>adm. </a:t>
            </a:r>
            <a:r>
              <a:rPr lang="pt-BR" sz="1700" dirty="0">
                <a:latin typeface="BlissL" panose="02000506030000020004" pitchFamily="2" charset="0"/>
              </a:rPr>
              <a:t>trabalhista) </a:t>
            </a:r>
            <a:r>
              <a:rPr lang="pt-BR" sz="1700" dirty="0" smtClean="0">
                <a:latin typeface="BlissL" panose="02000506030000020004" pitchFamily="2" charset="0"/>
              </a:rPr>
              <a:t>- direito </a:t>
            </a:r>
            <a:r>
              <a:rPr lang="pt-BR" sz="1700" dirty="0">
                <a:latin typeface="BlissL" panose="02000506030000020004" pitchFamily="2" charset="0"/>
              </a:rPr>
              <a:t>de defesa e </a:t>
            </a:r>
            <a:r>
              <a:rPr lang="pt-BR" sz="1700" dirty="0" smtClean="0">
                <a:latin typeface="BlissL" panose="02000506030000020004" pitchFamily="2" charset="0"/>
              </a:rPr>
              <a:t>contraditório </a:t>
            </a:r>
            <a:r>
              <a:rPr lang="pt-BR" sz="1700" dirty="0">
                <a:latin typeface="BlissL" panose="02000506030000020004" pitchFamily="2" charset="0"/>
              </a:rPr>
              <a:t>em relação ao alegado pelo auditor do trabalho</a:t>
            </a:r>
            <a:r>
              <a:rPr lang="pt-BR" sz="1600" dirty="0"/>
              <a:t>. </a:t>
            </a: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DIN – </a:t>
            </a:r>
            <a:r>
              <a:rPr lang="pt-BR" sz="2400" dirty="0" smtClean="0"/>
              <a:t>Trabalho Análogo à Escravidão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9967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5512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Encaminhamentos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MTE</a:t>
            </a:r>
            <a:r>
              <a:rPr lang="pt-BR" sz="1700" dirty="0" smtClean="0">
                <a:latin typeface="BlissL" panose="02000506030000020004" pitchFamily="2" charset="0"/>
              </a:rPr>
              <a:t> - process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inclusã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BIC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dirty="0" err="1">
                <a:latin typeface="BlissL" panose="02000506030000020004" pitchFamily="2" charset="0"/>
              </a:rPr>
              <a:t>Amicus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smtClean="0">
                <a:latin typeface="BlissL" panose="02000506030000020004" pitchFamily="2" charset="0"/>
              </a:rPr>
              <a:t>– acompanha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Trabalho </a:t>
            </a:r>
            <a:r>
              <a:rPr lang="pt-BR" sz="1700" b="1" dirty="0">
                <a:latin typeface="BlissL" panose="02000506030000020004" pitchFamily="2" charset="0"/>
              </a:rPr>
              <a:t>parlamentar e jurídico – </a:t>
            </a:r>
            <a:r>
              <a:rPr lang="pt-BR" sz="1700" dirty="0">
                <a:latin typeface="BlissL" panose="02000506030000020004" pitchFamily="2" charset="0"/>
              </a:rPr>
              <a:t>arcabouço lega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ertificação </a:t>
            </a:r>
            <a:r>
              <a:rPr lang="pt-BR" sz="1700" b="1" dirty="0">
                <a:latin typeface="BlissL" panose="02000506030000020004" pitchFamily="2" charset="0"/>
              </a:rPr>
              <a:t>de condições de trabalho</a:t>
            </a:r>
            <a:r>
              <a:rPr lang="pt-BR" sz="1700" dirty="0">
                <a:latin typeface="BlissL" panose="02000506030000020004" pitchFamily="2" charset="0"/>
              </a:rPr>
              <a:t> de acordo com padrões internacionais (</a:t>
            </a:r>
            <a:r>
              <a:rPr lang="pt-BR" sz="1700" dirty="0" err="1">
                <a:latin typeface="BlissL" panose="02000506030000020004" pitchFamily="2" charset="0"/>
              </a:rPr>
              <a:t>ex</a:t>
            </a:r>
            <a:r>
              <a:rPr lang="pt-BR" sz="1700" dirty="0">
                <a:latin typeface="BlissL" panose="02000506030000020004" pitchFamily="2" charset="0"/>
              </a:rPr>
              <a:t>: OIT</a:t>
            </a:r>
            <a:r>
              <a:rPr lang="pt-BR" sz="1700" dirty="0" smtClean="0">
                <a:latin typeface="BlissL" panose="02000506030000020004" pitchFamily="2" charset="0"/>
              </a:rPr>
              <a:t>) – ABN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genda </a:t>
            </a:r>
            <a:r>
              <a:rPr lang="pt-BR" sz="1700" b="1" dirty="0">
                <a:latin typeface="BlissL" panose="02000506030000020004" pitchFamily="2" charset="0"/>
              </a:rPr>
              <a:t>de comunicação </a:t>
            </a:r>
            <a:r>
              <a:rPr lang="pt-BR" sz="1700" dirty="0">
                <a:latin typeface="BlissL" panose="02000506030000020004" pitchFamily="2" charset="0"/>
              </a:rPr>
              <a:t>com mídia e </a:t>
            </a:r>
            <a:r>
              <a:rPr lang="pt-BR" sz="1700" dirty="0" smtClean="0">
                <a:latin typeface="BlissL" panose="02000506030000020004" pitchFamily="2" charset="0"/>
              </a:rPr>
              <a:t>jornalistas - Tamanini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Textos </a:t>
            </a:r>
            <a:r>
              <a:rPr lang="pt-BR" sz="1700" b="1" dirty="0">
                <a:latin typeface="BlissL" panose="02000506030000020004" pitchFamily="2" charset="0"/>
              </a:rPr>
              <a:t>jurídicos </a:t>
            </a:r>
            <a:r>
              <a:rPr lang="pt-BR" sz="1700" dirty="0">
                <a:latin typeface="BlissL" panose="02000506030000020004" pitchFamily="2" charset="0"/>
              </a:rPr>
              <a:t>sobre o tema e sua publicação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arta Sindicato dos Trabalhadores São Paulo </a:t>
            </a:r>
            <a:r>
              <a:rPr lang="pt-BR" sz="1700" dirty="0" smtClean="0">
                <a:latin typeface="BlissL" panose="02000506030000020004" pitchFamily="2" charset="0"/>
              </a:rPr>
              <a:t>– outros apoios</a:t>
            </a:r>
          </a:p>
          <a:p>
            <a:pPr lvl="1"/>
            <a:endParaRPr lang="pt-BR" sz="1600" dirty="0" smtClean="0"/>
          </a:p>
          <a:p>
            <a:pPr lvl="1"/>
            <a:endParaRPr lang="pt-BR" sz="1600" dirty="0"/>
          </a:p>
          <a:p>
            <a:pPr>
              <a:buClr>
                <a:srgbClr val="1F497D"/>
              </a:buClr>
            </a:pPr>
            <a:r>
              <a:rPr lang="pt-BR" sz="1700" b="1" dirty="0" err="1">
                <a:latin typeface="BlissL" panose="02000506030000020004" pitchFamily="2" charset="0"/>
              </a:rPr>
              <a:t>Stakeholders</a:t>
            </a:r>
            <a:r>
              <a:rPr lang="pt-BR" sz="1700" b="1" dirty="0">
                <a:latin typeface="BlissL" panose="02000506030000020004" pitchFamily="2" charset="0"/>
              </a:rPr>
              <a:t> - reunião com Instituto Ethos </a:t>
            </a:r>
            <a:r>
              <a:rPr lang="pt-BR" sz="1700" dirty="0">
                <a:latin typeface="BlissL" panose="02000506030000020004" pitchFamily="2" charset="0"/>
              </a:rPr>
              <a:t>– 3/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tendimento sobre subjetividade, arbitrariedade e necessidade de aperfeiçoamentos na l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Setores efetivamente escravagistas: lista orienta compras de empresas de commodities e varejis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aminhos para diálogo: moratória, GT para redefinir conceitos, controles e processos, suspensão da limin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ropostas alternativas (</a:t>
            </a:r>
            <a:r>
              <a:rPr lang="pt-BR" sz="1700" dirty="0" err="1">
                <a:latin typeface="BlissL" panose="02000506030000020004" pitchFamily="2" charset="0"/>
              </a:rPr>
              <a:t>ex</a:t>
            </a:r>
            <a:r>
              <a:rPr lang="pt-BR" sz="1700" dirty="0">
                <a:latin typeface="BlissL" panose="02000506030000020004" pitchFamily="2" charset="0"/>
              </a:rPr>
              <a:t>: certificação, divulgação, relatos fotográficos de obras)</a:t>
            </a:r>
          </a:p>
          <a:p>
            <a:pPr lvl="1"/>
            <a:endParaRPr lang="pt-B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defPPr>
              <a:defRPr lang="pt-BR"/>
            </a:defPPr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DIN - acompanhamento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6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7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04454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251520" y="692696"/>
            <a:ext cx="8624887" cy="634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PL 4330 </a:t>
            </a:r>
            <a:r>
              <a:rPr lang="pt-BR" sz="1700" dirty="0" smtClean="0">
                <a:latin typeface="BlissL" panose="02000506030000020004" pitchFamily="2" charset="0"/>
              </a:rPr>
              <a:t>– apoio junto com Febraban, CNI, etc.</a:t>
            </a: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STJ</a:t>
            </a:r>
            <a:r>
              <a:rPr lang="pt-BR" sz="1700" dirty="0" smtClean="0">
                <a:latin typeface="BlissL" panose="02000506030000020004" pitchFamily="2" charset="0"/>
              </a:rPr>
              <a:t> – participação </a:t>
            </a:r>
            <a:r>
              <a:rPr lang="pt-BR" sz="1700" dirty="0" err="1">
                <a:latin typeface="BlissL" panose="02000506030000020004" pitchFamily="2" charset="0"/>
              </a:rPr>
              <a:t>Amicus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err="1" smtClean="0">
                <a:latin typeface="BlissL" panose="02000506030000020004" pitchFamily="2" charset="0"/>
              </a:rPr>
              <a:t>Curiae</a:t>
            </a:r>
            <a:r>
              <a:rPr lang="pt-BR" sz="1700" dirty="0" smtClean="0">
                <a:latin typeface="BlissL" panose="02000506030000020004" pitchFamily="2" charset="0"/>
              </a:rPr>
              <a:t> – Assessoria – definição – alternativa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Sette</a:t>
            </a:r>
            <a:r>
              <a:rPr lang="pt-BR" sz="1700" dirty="0" smtClean="0">
                <a:latin typeface="BlissL" panose="02000506030000020004" pitchFamily="2" charset="0"/>
              </a:rPr>
              <a:t> Câmara, Correa e Bastos – proposta enviada em 23/2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$ 300 mil + R$ 2 MM  (sucesso – reconhecimento do STF com repercussão geral da permissão da terceirização – atividade-meio e fim, desde que não </a:t>
            </a:r>
            <a:r>
              <a:rPr lang="pt-BR" sz="1700" dirty="0" err="1" smtClean="0">
                <a:latin typeface="BlissL" panose="02000506030000020004" pitchFamily="2" charset="0"/>
              </a:rPr>
              <a:t>envovla</a:t>
            </a:r>
            <a:r>
              <a:rPr lang="pt-BR" sz="1700" dirty="0" smtClean="0">
                <a:latin typeface="BlissL" panose="02000506030000020004" pitchFamily="2" charset="0"/>
              </a:rPr>
              <a:t> fraude ou precarização 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scritório </a:t>
            </a:r>
            <a:r>
              <a:rPr lang="pt-BR" sz="1700" dirty="0" err="1">
                <a:latin typeface="BlissL" panose="02000506030000020004" pitchFamily="2" charset="0"/>
              </a:rPr>
              <a:t>Piauhylino</a:t>
            </a:r>
            <a:r>
              <a:rPr lang="pt-BR" sz="1700" dirty="0">
                <a:latin typeface="BlissL" panose="02000506030000020004" pitchFamily="2" charset="0"/>
              </a:rPr>
              <a:t> Monteiro (Tenda) -  R$ 200 mil + R$ 1,5 MM (sucess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utras alternativas: Escritório Lossio (MF)</a:t>
            </a:r>
          </a:p>
          <a:p>
            <a:endParaRPr lang="pt-BR" sz="1700" i="1" dirty="0" smtClean="0">
              <a:latin typeface="BlissL" panose="02000506030000020004" pitchFamily="2" charset="0"/>
            </a:endParaRPr>
          </a:p>
          <a:p>
            <a:r>
              <a:rPr lang="pt-BR" sz="1700" dirty="0" smtClean="0">
                <a:latin typeface="BlissL" panose="02000506030000020004" pitchFamily="2" charset="0"/>
              </a:rPr>
              <a:t>Mais de 20 </a:t>
            </a:r>
            <a:r>
              <a:rPr lang="pt-BR" sz="1700" dirty="0">
                <a:latin typeface="BlissL" panose="02000506030000020004" pitchFamily="2" charset="0"/>
              </a:rPr>
              <a:t>instituições requereram </a:t>
            </a:r>
            <a:r>
              <a:rPr lang="pt-BR" sz="1700" dirty="0" smtClean="0">
                <a:latin typeface="BlissL" panose="02000506030000020004" pitchFamily="2" charset="0"/>
              </a:rPr>
              <a:t>ingresso como </a:t>
            </a:r>
            <a:r>
              <a:rPr lang="pt-BR" sz="1700" dirty="0" err="1" smtClean="0">
                <a:latin typeface="BlissL" panose="02000506030000020004" pitchFamily="2" charset="0"/>
              </a:rPr>
              <a:t>Amicus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smtClean="0">
                <a:latin typeface="BlissL" panose="02000506030000020004" pitchFamily="2" charset="0"/>
              </a:rPr>
              <a:t>sem definições.</a:t>
            </a:r>
            <a:r>
              <a:rPr lang="pt-BR" sz="1700" dirty="0">
                <a:latin typeface="BlissL" panose="02000506030000020004" pitchFamily="2" charset="0"/>
              </a:rPr>
              <a:t/>
            </a:r>
            <a:br>
              <a:rPr lang="pt-BR" sz="1700" dirty="0">
                <a:latin typeface="BlissL" panose="02000506030000020004" pitchFamily="2" charset="0"/>
              </a:rPr>
            </a:b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ontrárias à terceirização na atividade-fim</a:t>
            </a:r>
            <a:r>
              <a:rPr lang="pt-BR" sz="1700" dirty="0" smtClean="0">
                <a:latin typeface="BlissL" panose="02000506030000020004" pitchFamily="2" charset="0"/>
              </a:rPr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ssoc. Nac. Procuradores </a:t>
            </a:r>
            <a:r>
              <a:rPr lang="pt-BR" sz="1700" dirty="0">
                <a:latin typeface="BlissL" panose="02000506030000020004" pitchFamily="2" charset="0"/>
              </a:rPr>
              <a:t>do Trabalho (</a:t>
            </a:r>
            <a:r>
              <a:rPr lang="pt-BR" sz="1700" dirty="0" smtClean="0">
                <a:latin typeface="BlissL" panose="02000506030000020004" pitchFamily="2" charset="0"/>
              </a:rPr>
              <a:t>ANP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Fed</a:t>
            </a:r>
            <a:r>
              <a:rPr lang="pt-BR" sz="1700" dirty="0">
                <a:latin typeface="BlissL" panose="02000506030000020004" pitchFamily="2" charset="0"/>
              </a:rPr>
              <a:t>. Nac. dos Técnicos em Radiologia (</a:t>
            </a:r>
            <a:r>
              <a:rPr lang="pt-BR" sz="1700" dirty="0" smtClean="0">
                <a:latin typeface="BlissL" panose="02000506030000020004" pitchFamily="2" charset="0"/>
              </a:rPr>
              <a:t>FENATRA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Fed</a:t>
            </a:r>
            <a:r>
              <a:rPr lang="pt-BR" sz="1700" dirty="0">
                <a:latin typeface="BlissL" panose="02000506030000020004" pitchFamily="2" charset="0"/>
              </a:rPr>
              <a:t>. Nac</a:t>
            </a:r>
            <a:r>
              <a:rPr lang="pt-BR" sz="1700" dirty="0" smtClean="0">
                <a:latin typeface="BlissL" panose="02000506030000020004" pitchFamily="2" charset="0"/>
              </a:rPr>
              <a:t>. dos </a:t>
            </a:r>
            <a:r>
              <a:rPr lang="pt-BR" sz="1700" dirty="0">
                <a:latin typeface="BlissL" panose="02000506030000020004" pitchFamily="2" charset="0"/>
              </a:rPr>
              <a:t>Eng. (</a:t>
            </a:r>
            <a:r>
              <a:rPr lang="pt-BR" sz="1700" dirty="0" smtClean="0">
                <a:latin typeface="BlissL" panose="02000506030000020004" pitchFamily="2" charset="0"/>
              </a:rPr>
              <a:t>FN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ssoc</a:t>
            </a:r>
            <a:r>
              <a:rPr lang="pt-BR" sz="1700" dirty="0">
                <a:latin typeface="BlissL" panose="02000506030000020004" pitchFamily="2" charset="0"/>
              </a:rPr>
              <a:t>. dos Eng. da Petrobrás (AEPET) - representado por</a:t>
            </a:r>
            <a:br>
              <a:rPr lang="pt-BR" sz="1700" dirty="0">
                <a:latin typeface="BlissL" panose="02000506030000020004" pitchFamily="2" charset="0"/>
              </a:rPr>
            </a:br>
            <a:r>
              <a:rPr lang="pt-BR" sz="1700" dirty="0">
                <a:latin typeface="BlissL" panose="02000506030000020004" pitchFamily="2" charset="0"/>
              </a:rPr>
              <a:t>Vergara Martins Costa, </a:t>
            </a:r>
            <a:r>
              <a:rPr lang="pt-BR" sz="1700" dirty="0" err="1">
                <a:latin typeface="BlissL" panose="02000506030000020004" pitchFamily="2" charset="0"/>
              </a:rPr>
              <a:t>Troglio</a:t>
            </a:r>
            <a:r>
              <a:rPr lang="pt-BR" sz="1700" dirty="0">
                <a:latin typeface="BlissL" panose="02000506030000020004" pitchFamily="2" charset="0"/>
              </a:rPr>
              <a:t> e </a:t>
            </a:r>
            <a:r>
              <a:rPr lang="pt-BR" sz="1700" dirty="0" err="1">
                <a:latin typeface="BlissL" panose="02000506030000020004" pitchFamily="2" charset="0"/>
              </a:rPr>
              <a:t>Sanvincente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smtClean="0">
                <a:latin typeface="BlissL" panose="02000506030000020004" pitchFamily="2" charset="0"/>
              </a:rPr>
              <a:t>Advogados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 favor:</a:t>
            </a:r>
            <a:endParaRPr lang="pt-BR" sz="1700" b="1" dirty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B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entral Bras. </a:t>
            </a:r>
            <a:r>
              <a:rPr lang="pt-BR" sz="1700" dirty="0">
                <a:latin typeface="BlissL" panose="02000506030000020004" pitchFamily="2" charset="0"/>
              </a:rPr>
              <a:t>do </a:t>
            </a:r>
            <a:r>
              <a:rPr lang="pt-BR" sz="1700" dirty="0" smtClean="0">
                <a:latin typeface="BlissL" panose="02000506030000020004" pitchFamily="2" charset="0"/>
              </a:rPr>
              <a:t>Setor </a:t>
            </a:r>
            <a:r>
              <a:rPr lang="pt-BR" sz="1700" dirty="0">
                <a:latin typeface="BlissL" panose="02000506030000020004" pitchFamily="2" charset="0"/>
              </a:rPr>
              <a:t>de Serviços (CEBRASSE</a:t>
            </a:r>
            <a:r>
              <a:rPr lang="pt-BR" sz="1700" dirty="0" smtClean="0">
                <a:latin typeface="BlissL" panose="02000506030000020004" pitchFamily="2" charset="0"/>
              </a:rPr>
              <a:t>), com Maricato Advogados </a:t>
            </a:r>
            <a:r>
              <a:rPr lang="pt-BR" sz="1700" dirty="0">
                <a:latin typeface="BlissL" panose="02000506030000020004" pitchFamily="2" charset="0"/>
              </a:rPr>
              <a:t>(</a:t>
            </a:r>
            <a:r>
              <a:rPr lang="pt-BR" sz="1700" dirty="0" smtClean="0">
                <a:latin typeface="BlissL" panose="02000506030000020004" pitchFamily="2" charset="0"/>
              </a:rPr>
              <a:t>MAA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f. Nac.de </a:t>
            </a:r>
            <a:r>
              <a:rPr lang="pt-BR" sz="1700" dirty="0">
                <a:latin typeface="BlissL" panose="02000506030000020004" pitchFamily="2" charset="0"/>
              </a:rPr>
              <a:t>Serviços (CNS) - representado por </a:t>
            </a:r>
            <a:r>
              <a:rPr lang="pt-BR" sz="1700" dirty="0" smtClean="0">
                <a:latin typeface="BlissL" panose="02000506030000020004" pitchFamily="2" charset="0"/>
              </a:rPr>
              <a:t>NBPF Adv.</a:t>
            </a:r>
            <a:r>
              <a:rPr lang="pt-BR" sz="1700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Telecomunicações, Correios, Saúde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44624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 smtClean="0"/>
              <a:t>Questões do Trabalho  - Terceirização</a:t>
            </a:r>
            <a:endParaRPr lang="en-US" dirty="0">
              <a:sym typeface="Arial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 dirty="0">
              <a:latin typeface="BlissL" panose="02000506030000020004" pitchFamily="2" charset="0"/>
            </a:endParaRPr>
          </a:p>
        </p:txBody>
      </p:sp>
      <p:sp>
        <p:nvSpPr>
          <p:cNvPr id="9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3370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395536" y="980728"/>
            <a:ext cx="8111876" cy="4288349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rojetos </a:t>
            </a:r>
          </a:p>
          <a:p>
            <a:pPr algn="ctr" defTabSz="914145" hangingPunct="0"/>
            <a:endParaRPr lang="en-US" sz="24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lvl="1"/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 </a:t>
            </a:r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lvl="1"/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lvl="1"/>
            <a:r>
              <a:rPr lang="pt-BR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istratos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, Modelo de Negócios</a:t>
            </a:r>
          </a:p>
          <a:p>
            <a:pPr lvl="1"/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Comunicação, Pesquisa Satisfação Associados</a:t>
            </a:r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lvl="1"/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lvl="1"/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lvl="1"/>
            <a:endParaRPr lang="pt-BR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67518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251520" y="980728"/>
            <a:ext cx="8111876" cy="4257572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36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Modelo</a:t>
            </a:r>
            <a:r>
              <a:rPr lang="en-US" sz="36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e Negócios, </a:t>
            </a:r>
            <a:r>
              <a:rPr lang="en-US" sz="36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Distratos</a:t>
            </a:r>
            <a:r>
              <a:rPr lang="en-US" sz="36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</a:p>
          <a:p>
            <a:pPr algn="ctr" defTabSz="914145" hangingPunct="0">
              <a:defRPr/>
            </a:pP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</a:p>
          <a:p>
            <a:pPr algn="ctr" defTabSz="914145" hangingPunct="0">
              <a:defRPr/>
            </a:pPr>
            <a:endParaRPr lang="en-US" sz="2700" b="1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1348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00024"/>
            <a:ext cx="7397750" cy="6565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imediata</a:t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5035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r>
              <a:rPr lang="pt-BR" sz="1700" b="1" u="sng" dirty="0" smtClean="0">
                <a:latin typeface="BlissL" panose="02000506030000020004" pitchFamily="2" charset="0"/>
              </a:rPr>
              <a:t>1 - Concessão de crédito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Comitê </a:t>
            </a:r>
            <a:r>
              <a:rPr lang="pt-BR" sz="1700" dirty="0">
                <a:latin typeface="BlissL" panose="02000506030000020004" pitchFamily="2" charset="0"/>
              </a:rPr>
              <a:t>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atings</a:t>
            </a:r>
            <a:r>
              <a:rPr lang="pt-BR" sz="1700" dirty="0">
                <a:latin typeface="BlissL" panose="02000506030000020004" pitchFamily="2" charset="0"/>
              </a:rPr>
              <a:t>/ Integração com informações de </a:t>
            </a:r>
            <a:r>
              <a:rPr lang="pt-BR" sz="1700" dirty="0" smtClean="0">
                <a:latin typeface="BlissL" panose="02000506030000020004" pitchFamily="2" charset="0"/>
              </a:rPr>
              <a:t>crédito - CETIP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rédito na venda – Itaú/CETIP </a:t>
            </a:r>
            <a:r>
              <a:rPr lang="pt-BR" sz="1700" dirty="0" smtClean="0">
                <a:latin typeface="BlissL" panose="02000506030000020004" pitchFamily="2" charset="0"/>
              </a:rPr>
              <a:t> - reunião 5/3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Modelo de Negócios/ </a:t>
            </a:r>
            <a:r>
              <a:rPr lang="pt-BR" sz="1700" b="1" u="sng" dirty="0" smtClean="0">
                <a:latin typeface="BlissL" panose="02000506030000020004" pitchFamily="2" charset="0"/>
              </a:rPr>
              <a:t>Bancos </a:t>
            </a:r>
            <a:r>
              <a:rPr lang="pt-BR" sz="1700" dirty="0" smtClean="0">
                <a:latin typeface="BlissL" panose="02000506030000020004" pitchFamily="2" charset="0"/>
              </a:rPr>
              <a:t>- </a:t>
            </a:r>
            <a:r>
              <a:rPr lang="pt-BR" sz="1700" dirty="0">
                <a:latin typeface="BlissL" panose="02000506030000020004" pitchFamily="2" charset="0"/>
              </a:rPr>
              <a:t>Comitê Financeiro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Repasse </a:t>
            </a:r>
            <a:r>
              <a:rPr lang="pt-BR" sz="1700" b="1" dirty="0">
                <a:latin typeface="BlissL" panose="02000506030000020004" pitchFamily="2" charset="0"/>
              </a:rPr>
              <a:t>antecipado </a:t>
            </a:r>
            <a:endParaRPr lang="pt-BR" sz="17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nda com repasse – piloto </a:t>
            </a:r>
            <a:r>
              <a:rPr lang="pt-BR" sz="1700" dirty="0" err="1">
                <a:latin typeface="BlissL" panose="02000506030000020004" pitchFamily="2" charset="0"/>
              </a:rPr>
              <a:t>Cyrela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ndas mais especializadas e mais fir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Queda no distrato – mas também nas ve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enor equipe, com melhor definição de subordinaçã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3</a:t>
            </a:r>
            <a:r>
              <a:rPr lang="pt-BR" sz="1700" b="1" dirty="0" smtClean="0">
                <a:latin typeface="BlissL" panose="02000506030000020004" pitchFamily="2" charset="0"/>
              </a:rPr>
              <a:t>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Ajustes legislativos</a:t>
            </a:r>
            <a:r>
              <a:rPr lang="pt-BR" sz="1700" b="1" dirty="0">
                <a:latin typeface="BlissL" panose="02000506030000020004" pitchFamily="2" charset="0"/>
              </a:rPr>
              <a:t> – GT Legislativo </a:t>
            </a:r>
            <a:r>
              <a:rPr lang="pt-BR" sz="1700" b="1" dirty="0" smtClean="0">
                <a:latin typeface="BlissL" panose="02000506030000020004" pitchFamily="2" charset="0"/>
              </a:rPr>
              <a:t>– </a:t>
            </a:r>
            <a:r>
              <a:rPr lang="pt-BR" sz="1700" dirty="0" smtClean="0">
                <a:latin typeface="BlissL" panose="02000506030000020004" pitchFamily="2" charset="0"/>
              </a:rPr>
              <a:t>R. </a:t>
            </a:r>
            <a:r>
              <a:rPr lang="pt-BR" sz="1700" dirty="0">
                <a:latin typeface="BlissL" panose="02000506030000020004" pitchFamily="2" charset="0"/>
              </a:rPr>
              <a:t>Menin, </a:t>
            </a:r>
            <a:r>
              <a:rPr lang="pt-BR" sz="1700" dirty="0" smtClean="0">
                <a:latin typeface="BlissL" panose="02000506030000020004" pitchFamily="2" charset="0"/>
              </a:rPr>
              <a:t>F. </a:t>
            </a:r>
            <a:r>
              <a:rPr lang="pt-BR" sz="1700" dirty="0">
                <a:latin typeface="BlissL" panose="02000506030000020004" pitchFamily="2" charset="0"/>
              </a:rPr>
              <a:t>Zarzur, </a:t>
            </a:r>
            <a:r>
              <a:rPr lang="pt-BR" sz="1700" dirty="0" smtClean="0">
                <a:latin typeface="BlissL" panose="02000506030000020004" pitchFamily="2" charset="0"/>
              </a:rPr>
              <a:t>R. </a:t>
            </a:r>
            <a:r>
              <a:rPr lang="pt-BR" sz="1700" dirty="0">
                <a:latin typeface="BlissL" panose="02000506030000020004" pitchFamily="2" charset="0"/>
              </a:rPr>
              <a:t>Cury, </a:t>
            </a:r>
            <a:r>
              <a:rPr lang="pt-BR" sz="1700" dirty="0" smtClean="0">
                <a:latin typeface="BlissL" panose="02000506030000020004" pitchFamily="2" charset="0"/>
              </a:rPr>
              <a:t>C. </a:t>
            </a:r>
            <a:r>
              <a:rPr lang="pt-BR" sz="1700" dirty="0">
                <a:latin typeface="BlissL" panose="02000506030000020004" pitchFamily="2" charset="0"/>
              </a:rPr>
              <a:t>Bernardes, ABRAINC, </a:t>
            </a:r>
            <a:r>
              <a:rPr lang="pt-BR" sz="1700" dirty="0" smtClean="0">
                <a:latin typeface="BlissL" panose="02000506030000020004" pitchFamily="2" charset="0"/>
              </a:rPr>
              <a:t>L. F. Moura</a:t>
            </a:r>
            <a:endParaRPr lang="pt-BR" sz="1700" b="1" u="sng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4 - Cartilha</a:t>
            </a:r>
            <a:r>
              <a:rPr lang="pt-BR" sz="1700" dirty="0" smtClean="0">
                <a:latin typeface="BlissL" panose="02000506030000020004" pitchFamily="2" charset="0"/>
              </a:rPr>
              <a:t> – lançamento </a:t>
            </a:r>
            <a:r>
              <a:rPr lang="pt-BR" sz="1700" dirty="0" smtClean="0">
                <a:latin typeface="BlissL" panose="02000506030000020004" pitchFamily="2" charset="0"/>
              </a:rPr>
              <a:t>13 </a:t>
            </a:r>
            <a:r>
              <a:rPr lang="pt-BR" sz="1700" dirty="0" smtClean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maio</a:t>
            </a:r>
            <a:r>
              <a:rPr lang="pt-BR" sz="1700" dirty="0" smtClean="0">
                <a:latin typeface="BlissL" panose="02000506030000020004" pitchFamily="2" charset="0"/>
              </a:rPr>
              <a:t>, </a:t>
            </a:r>
            <a:r>
              <a:rPr lang="pt-BR" sz="1700" dirty="0" smtClean="0">
                <a:latin typeface="BlissL" panose="02000506030000020004" pitchFamily="2" charset="0"/>
              </a:rPr>
              <a:t>com CBIC</a:t>
            </a:r>
          </a:p>
          <a:p>
            <a:r>
              <a:rPr lang="pt-BR" sz="1700" b="1" dirty="0">
                <a:latin typeface="BlissL" panose="02000506030000020004" pitchFamily="2" charset="0"/>
              </a:rPr>
              <a:t>Destinatários</a:t>
            </a:r>
            <a:r>
              <a:rPr lang="pt-BR" sz="1700" dirty="0">
                <a:latin typeface="BlissL" panose="02000506030000020004" pitchFamily="2" charset="0"/>
              </a:rPr>
              <a:t> – consumidores, MP, </a:t>
            </a:r>
            <a:r>
              <a:rPr lang="pt-BR" sz="1700" dirty="0" err="1">
                <a:latin typeface="BlissL" panose="02000506030000020004" pitchFamily="2" charset="0"/>
              </a:rPr>
              <a:t>Procons</a:t>
            </a:r>
            <a:r>
              <a:rPr lang="pt-BR" sz="1700" dirty="0">
                <a:latin typeface="BlissL" panose="02000506030000020004" pitchFamily="2" charset="0"/>
              </a:rPr>
              <a:t>, Executivo, STJ - defesa do equilíbrio.  </a:t>
            </a: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954896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Impasses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, Custo dos </a:t>
            </a:r>
            <a:r>
              <a:rPr lang="pt-BR" sz="1700" dirty="0" err="1" smtClean="0">
                <a:latin typeface="BlissL" panose="02000506030000020004" pitchFamily="2" charset="0"/>
              </a:rPr>
              <a:t>distratos</a:t>
            </a:r>
            <a:r>
              <a:rPr lang="pt-BR" sz="1700" dirty="0" smtClean="0">
                <a:latin typeface="BlissL" panose="02000506030000020004" pitchFamily="2" charset="0"/>
              </a:rPr>
              <a:t>, Relacionamento com imobiliár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err="1">
                <a:latin typeface="BlissL" panose="02000506030000020004" pitchFamily="2" charset="0"/>
              </a:rPr>
              <a:t>Houses</a:t>
            </a:r>
            <a:r>
              <a:rPr lang="pt-BR" sz="1700" b="1" dirty="0">
                <a:latin typeface="BlissL" panose="02000506030000020004" pitchFamily="2" charset="0"/>
              </a:rPr>
              <a:t>, Imobiliária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rretores </a:t>
            </a:r>
            <a:r>
              <a:rPr lang="pt-BR" sz="1700" dirty="0" smtClean="0">
                <a:latin typeface="BlissL" panose="02000506030000020004" pitchFamily="2" charset="0"/>
              </a:rPr>
              <a:t>Associados - questão trabalhista – quadro mais adequado do que advogados (remuneração, organização mínima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rretores: </a:t>
            </a:r>
            <a:r>
              <a:rPr lang="pt-BR" sz="1700" dirty="0" err="1" smtClean="0">
                <a:latin typeface="BlissL" panose="02000506030000020004" pitchFamily="2" charset="0"/>
              </a:rPr>
              <a:t>micro-empresa</a:t>
            </a:r>
            <a:r>
              <a:rPr lang="pt-BR" sz="1700" dirty="0" smtClean="0">
                <a:latin typeface="BlissL" panose="02000506030000020004" pitchFamily="2" charset="0"/>
              </a:rPr>
              <a:t> individual, com CNPJ – Simples, 6% - contabilidade (ML, R$ 150/mês)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Art</a:t>
            </a:r>
            <a:r>
              <a:rPr lang="pt-BR" sz="1700" dirty="0" smtClean="0">
                <a:latin typeface="BlissL" panose="02000506030000020004" pitchFamily="2" charset="0"/>
              </a:rPr>
              <a:t> 3º - CLT – maiores dificuldades no enquadramento das </a:t>
            </a: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 – tendência de corretagem não </a:t>
            </a:r>
            <a:r>
              <a:rPr lang="pt-BR" sz="1700" dirty="0" smtClean="0">
                <a:latin typeface="BlissL" panose="02000506030000020004" pitchFamily="2" charset="0"/>
              </a:rPr>
              <a:t>apartada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CP – TJ- SP – Decisão 9/2/2015 – 35ª Comarca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>
                <a:latin typeface="BlissL" panose="02000506030000020004" pitchFamily="2" charset="0"/>
              </a:rPr>
              <a:t>House</a:t>
            </a:r>
            <a:r>
              <a:rPr lang="pt-BR" sz="1700" dirty="0">
                <a:latin typeface="BlissL" panose="02000506030000020004" pitchFamily="2" charset="0"/>
              </a:rPr>
              <a:t>- preposta da empresa; cobrança indevida ou , ao menos, abusiva à luz consumer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volução simples, prazo decenal</a:t>
            </a:r>
          </a:p>
          <a:p>
            <a:r>
              <a:rPr lang="pt-BR" sz="1700" b="1" dirty="0">
                <a:latin typeface="BlissL" panose="02000506030000020004" pitchFamily="2" charset="0"/>
              </a:rPr>
              <a:t>Decisão conflitante </a:t>
            </a:r>
            <a:r>
              <a:rPr lang="pt-BR" sz="1700" dirty="0">
                <a:latin typeface="BlissL" panose="02000506030000020004" pitchFamily="2" charset="0"/>
              </a:rPr>
              <a:t>– Comarca de São </a:t>
            </a:r>
            <a:r>
              <a:rPr lang="pt-BR" sz="1700" dirty="0" smtClean="0">
                <a:latin typeface="BlissL" panose="02000506030000020004" pitchFamily="2" charset="0"/>
              </a:rPr>
              <a:t>Paul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Corretagem Não Apartada </a:t>
            </a:r>
            <a:r>
              <a:rPr lang="pt-BR" sz="1700" dirty="0">
                <a:latin typeface="BlissL" panose="02000506030000020004" pitchFamily="2" charset="0"/>
              </a:rPr>
              <a:t>– movimento de empresas por acordo com MP</a:t>
            </a: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0" lvl="1"/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67595" y="764706"/>
            <a:ext cx="8624887" cy="588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0" lvl="1"/>
            <a:r>
              <a:rPr lang="pt-BR" sz="1700" b="1" dirty="0">
                <a:latin typeface="BlissL" panose="02000506030000020004" pitchFamily="2" charset="0"/>
              </a:rPr>
              <a:t>C</a:t>
            </a:r>
            <a:r>
              <a:rPr lang="pt-BR" sz="1700" b="1" dirty="0" smtClean="0">
                <a:latin typeface="BlissL" panose="02000506030000020004" pitchFamily="2" charset="0"/>
              </a:rPr>
              <a:t>ontratação pela empresa, </a:t>
            </a:r>
            <a:r>
              <a:rPr lang="pt-BR" sz="1700" b="1" dirty="0">
                <a:latin typeface="BlissL" panose="02000506030000020004" pitchFamily="2" charset="0"/>
              </a:rPr>
              <a:t>apesar de carregar maiores custos iniciais, tem reflexos positivos no médio e longo prazo para </a:t>
            </a:r>
            <a:r>
              <a:rPr lang="pt-BR" sz="1700" b="1" dirty="0" smtClean="0">
                <a:latin typeface="BlissL" panose="02000506030000020004" pitchFamily="2" charset="0"/>
              </a:rPr>
              <a:t>associadas </a:t>
            </a:r>
            <a:r>
              <a:rPr lang="pt-BR" sz="1700" b="1" dirty="0">
                <a:latin typeface="BlissL" panose="02000506030000020004" pitchFamily="2" charset="0"/>
              </a:rPr>
              <a:t>e para o setor.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0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49768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-1692696" y="116632"/>
            <a:ext cx="7397750" cy="4903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fontAlgn="base" hangingPunct="0">
              <a:spcAft>
                <a:spcPct val="0"/>
              </a:spcAft>
            </a:pPr>
            <a:r>
              <a:rPr lang="pt-BR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/>
              <a:t>De acordo com o </a:t>
            </a:r>
            <a:r>
              <a:rPr lang="pt-BR" sz="1700" dirty="0" smtClean="0"/>
              <a:t>Código </a:t>
            </a:r>
            <a:r>
              <a:rPr lang="pt-BR" sz="1700" dirty="0"/>
              <a:t>de </a:t>
            </a:r>
            <a:r>
              <a:rPr lang="pt-BR" sz="1700" dirty="0" smtClean="0"/>
              <a:t>Conduta e em </a:t>
            </a:r>
            <a:r>
              <a:rPr lang="pt-BR" sz="1700" dirty="0"/>
              <a:t>consonância com o estatuto da </a:t>
            </a:r>
            <a:r>
              <a:rPr lang="pt-BR" sz="1700" dirty="0" smtClean="0"/>
              <a:t>associação, </a:t>
            </a:r>
            <a:r>
              <a:rPr lang="pt-BR" sz="1700" dirty="0"/>
              <a:t>as reuniões são regidas pelas instruções abaixo, previamente distribuídas e de pleno conhecimento dos participantes. A saber:</a:t>
            </a:r>
          </a:p>
          <a:p>
            <a:r>
              <a:rPr lang="pt-BR" sz="1700" dirty="0"/>
              <a:t> </a:t>
            </a:r>
          </a:p>
          <a:p>
            <a:r>
              <a:rPr lang="pt-BR" sz="1700" dirty="0"/>
              <a:t>INSTRUÇÕES PARA A REUNIÃO</a:t>
            </a:r>
          </a:p>
          <a:p>
            <a:r>
              <a:rPr lang="pt-BR" sz="1700" dirty="0"/>
              <a:t>As instruções descritas abaixo deverão ser seguidas por todos os participantes da Plenária e refletem </a:t>
            </a:r>
            <a:r>
              <a:rPr lang="pt-BR" sz="1700" dirty="0" smtClean="0"/>
              <a:t>as </a:t>
            </a:r>
            <a:r>
              <a:rPr lang="pt-BR" sz="1700" dirty="0"/>
              <a:t>diretrizes do Código de </a:t>
            </a:r>
            <a:r>
              <a:rPr lang="pt-BR" sz="1700" dirty="0" smtClean="0"/>
              <a:t>Conduta da </a:t>
            </a:r>
            <a:r>
              <a:rPr lang="pt-BR" sz="1700" dirty="0"/>
              <a:t>Associação em </a:t>
            </a:r>
            <a:r>
              <a:rPr lang="pt-BR" sz="1700" dirty="0" smtClean="0"/>
              <a:t>consonância com </a:t>
            </a:r>
            <a:r>
              <a:rPr lang="pt-BR" sz="1700" dirty="0"/>
              <a:t>os princípios básicos do Direito da Concorrência. Tem como finalidade precípua estabelecer as relações dos participantes associados às reuniões promovidas pela ABRAINC. Consulte o seu advogado, na eventualidade de necessitar ajuda para a compreensão da aplicação de qualquer um destes conceitos.</a:t>
            </a:r>
          </a:p>
          <a:p>
            <a:r>
              <a:rPr lang="pt-BR" sz="1700" dirty="0"/>
              <a:t> </a:t>
            </a:r>
          </a:p>
          <a:p>
            <a:r>
              <a:rPr lang="pt-BR" sz="1700" dirty="0"/>
              <a:t>VOCÊ DEVERÁ</a:t>
            </a:r>
          </a:p>
          <a:p>
            <a:r>
              <a:rPr lang="pt-BR" sz="1700" dirty="0"/>
              <a:t>1. Avaliar e atender a agenda preparada para a reunião e consignar a objeção de determinada matéria que não lhe atenda, por escrito, e também em relação a ata da reunião não se seu teor não refletir precisamente as discussões ocorridas durante a mesma.</a:t>
            </a:r>
          </a:p>
          <a:p>
            <a:r>
              <a:rPr lang="pt-BR" sz="1700" dirty="0"/>
              <a:t>2. Compreender os propósitos e a autoridade de cada uma das pessoas com as quais se reúne[, em especial, a autoridade do coordenador da reunião </a:t>
            </a:r>
            <a:r>
              <a:rPr lang="pt-BR" sz="1700" dirty="0" smtClean="0"/>
              <a:t>específica.</a:t>
            </a:r>
          </a:p>
          <a:p>
            <a:r>
              <a:rPr lang="pt-BR" sz="1700" dirty="0"/>
              <a:t>3. Protestar oralmente contra quaisquer discussões ou atividades, durante a reunião, que você considere como violadoras das leis antitruste; não continue, até que você considere adequado permanecer na reunião. De outra forma, interrompa a reunião e faça constar na ata sua objeção ou </a:t>
            </a:r>
            <a:r>
              <a:rPr lang="pt-BR" sz="1700" dirty="0" smtClean="0"/>
              <a:t>retirada.</a:t>
            </a:r>
            <a:endParaRPr lang="pt-BR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177315604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ão 12/3 - Secovi / Lopes/Imobiliárias</a:t>
            </a:r>
          </a:p>
          <a:p>
            <a:r>
              <a:rPr lang="pt-BR" sz="1700" b="1" dirty="0" smtClean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ores Associados </a:t>
            </a:r>
            <a:r>
              <a:rPr lang="pt-BR" sz="1700" dirty="0" smtClean="0">
                <a:latin typeface="BlissL" panose="02000506030000020004" pitchFamily="2" charset="0"/>
              </a:rPr>
              <a:t>- em </a:t>
            </a:r>
            <a:r>
              <a:rPr lang="pt-BR" sz="1700" dirty="0">
                <a:latin typeface="BlissL" panose="02000506030000020004" pitchFamily="2" charset="0"/>
              </a:rPr>
              <a:t>implementação – </a:t>
            </a:r>
            <a:r>
              <a:rPr lang="pt-BR" sz="1700" dirty="0" smtClean="0">
                <a:latin typeface="BlissL" panose="02000506030000020004" pitchFamily="2" charset="0"/>
              </a:rPr>
              <a:t>registro </a:t>
            </a:r>
            <a:r>
              <a:rPr lang="pt-BR" sz="1700" dirty="0">
                <a:latin typeface="BlissL" panose="02000506030000020004" pitchFamily="2" charset="0"/>
              </a:rPr>
              <a:t>nos </a:t>
            </a:r>
            <a:r>
              <a:rPr lang="pt-BR" sz="1700" dirty="0" smtClean="0">
                <a:latin typeface="BlissL" panose="02000506030000020004" pitchFamily="2" charset="0"/>
              </a:rPr>
              <a:t>Sindica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agem Apartada – </a:t>
            </a:r>
            <a:r>
              <a:rPr lang="pt-BR" sz="1700" dirty="0" smtClean="0">
                <a:latin typeface="BlissL" panose="02000506030000020004" pitchFamily="2" charset="0"/>
              </a:rPr>
              <a:t>no entanto, recrudescimento nas decisões judiciais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ntratação de imobiliária  e corretores pela incorporadora – contratação única contraria Lei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 cheque à imobiliária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 ou mais cheques à equipe de vendas (Corretores Associado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or que não contratação única? Lei? E Advogados Associado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ortaria 5107/14 – </a:t>
            </a:r>
            <a:r>
              <a:rPr lang="pt-BR" sz="1700" b="1" dirty="0" err="1" smtClean="0">
                <a:latin typeface="BlissL" panose="02000506030000020004" pitchFamily="2" charset="0"/>
              </a:rPr>
              <a:t>Creci</a:t>
            </a:r>
            <a:r>
              <a:rPr lang="pt-BR" sz="1700" b="1" dirty="0" smtClean="0">
                <a:latin typeface="BlissL" panose="02000506030000020004" pitchFamily="2" charset="0"/>
              </a:rPr>
              <a:t> – </a:t>
            </a:r>
            <a:r>
              <a:rPr lang="pt-BR" sz="1700" dirty="0" smtClean="0">
                <a:latin typeface="BlissL" panose="02000506030000020004" pitchFamily="2" charset="0"/>
              </a:rPr>
              <a:t>MP e Procon chamados não se pronunciaram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k em relação a Corretores Associa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nadequada em relação à fiscalização e a tabela mínima de honorários- </a:t>
            </a:r>
            <a:r>
              <a:rPr lang="pt-BR" sz="1700" dirty="0" err="1">
                <a:latin typeface="BlissL" panose="02000506030000020004" pitchFamily="2" charset="0"/>
              </a:rPr>
              <a:t>Considerandos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err="1">
                <a:latin typeface="BlissL" panose="02000506030000020004" pitchFamily="2" charset="0"/>
              </a:rPr>
              <a:t>Art</a:t>
            </a:r>
            <a:r>
              <a:rPr lang="pt-BR" sz="1700" dirty="0">
                <a:latin typeface="BlissL" panose="02000506030000020004" pitchFamily="2" charset="0"/>
              </a:rPr>
              <a:t> 1º e 2º 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Encaminhamentos/conclusões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traria melhoras na questão consumerista</a:t>
            </a: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Questões operacionais e aproximação de riscos trabalhistas e fiscais perduram – é possível se discutir contratação única, com Corretores Associados?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186724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251520" y="980728"/>
            <a:ext cx="8111876" cy="4257572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Outros </a:t>
            </a:r>
            <a:r>
              <a:rPr lang="en-US" sz="36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rojetos</a:t>
            </a:r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: </a:t>
            </a:r>
            <a:r>
              <a:rPr lang="en-US" sz="36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magem</a:t>
            </a:r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o </a:t>
            </a:r>
            <a:r>
              <a:rPr lang="en-US" sz="360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etor </a:t>
            </a:r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</a:p>
          <a:p>
            <a:pPr algn="ctr" defTabSz="914145" hangingPunct="0">
              <a:defRPr/>
            </a:pPr>
            <a:endParaRPr lang="en-US" sz="2700" b="1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910794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323528" y="692696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Fechamento </a:t>
            </a:r>
            <a:r>
              <a:rPr lang="pt-BR" sz="1700" dirty="0" smtClean="0">
                <a:latin typeface="BlissL" panose="02000506030000020004" pitchFamily="2" charset="0"/>
              </a:rPr>
              <a:t>– assessoria Cause – R$ 150.000 + pesquisa (~R$ 100.000)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Seminário </a:t>
            </a:r>
            <a:r>
              <a:rPr lang="pt-BR" sz="1700" b="1" dirty="0">
                <a:latin typeface="BlissL" panose="02000506030000020004" pitchFamily="2" charset="0"/>
              </a:rPr>
              <a:t>Temático </a:t>
            </a:r>
            <a:r>
              <a:rPr lang="pt-BR" sz="1700" b="1" dirty="0" smtClean="0">
                <a:latin typeface="BlissL" panose="02000506030000020004" pitchFamily="2" charset="0"/>
              </a:rPr>
              <a:t>ABRAINC- Arq. Mackenzie </a:t>
            </a:r>
            <a:r>
              <a:rPr lang="pt-BR" sz="1700" dirty="0" smtClean="0">
                <a:latin typeface="BlissL" panose="02000506030000020004" pitchFamily="2" charset="0"/>
              </a:rPr>
              <a:t>-  Walter </a:t>
            </a:r>
            <a:r>
              <a:rPr lang="pt-BR" sz="1700" dirty="0" err="1" smtClean="0">
                <a:latin typeface="BlissL" panose="02000506030000020004" pitchFamily="2" charset="0"/>
              </a:rPr>
              <a:t>Caldana</a:t>
            </a:r>
            <a:r>
              <a:rPr lang="pt-BR" sz="1700" dirty="0" smtClean="0">
                <a:latin typeface="BlissL" panose="02000506030000020004" pitchFamily="2" charset="0"/>
              </a:rPr>
              <a:t>, Eduardo </a:t>
            </a:r>
            <a:r>
              <a:rPr lang="pt-BR" sz="1700" dirty="0" err="1" smtClean="0">
                <a:latin typeface="BlissL" panose="02000506030000020004" pitchFamily="2" charset="0"/>
              </a:rPr>
              <a:t>Nardelli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 Incorporação e a produção da cidade </a:t>
            </a:r>
            <a:r>
              <a:rPr lang="pt-BR" sz="1700" dirty="0" smtClean="0">
                <a:latin typeface="BlissL" panose="02000506030000020004" pitchFamily="2" charset="0"/>
              </a:rPr>
              <a:t>– 20/3, até 30 pesso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emissas p/ viabilização de empreendimen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oas práticas e soluções – empreendedores, arquite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 arcabouço legal atende os requisitos de produtividade e qualidade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mo aperfeiçoar inclusão das </a:t>
            </a:r>
            <a:r>
              <a:rPr lang="pt-BR" sz="1700" dirty="0">
                <a:latin typeface="BlissL" panose="02000506030000020004" pitchFamily="2" charset="0"/>
              </a:rPr>
              <a:t>questões urbanas na </a:t>
            </a:r>
            <a:r>
              <a:rPr lang="pt-BR" sz="1700" dirty="0" smtClean="0">
                <a:latin typeface="BlissL" panose="02000506030000020004" pitchFamily="2" charset="0"/>
              </a:rPr>
              <a:t>produção -  cas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lenco de questões a serem aprofundadas e </a:t>
            </a:r>
            <a:r>
              <a:rPr lang="pt-BR" sz="1700" dirty="0" err="1" smtClean="0">
                <a:latin typeface="BlissL" panose="02000506030000020004" pitchFamily="2" charset="0"/>
              </a:rPr>
              <a:t>publicizadas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presentações Tecnisa e Odebre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presentações urbanistas, ASBEA e professo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ase para agen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Outras </a:t>
            </a:r>
            <a:r>
              <a:rPr lang="pt-BR" sz="1700" b="1" dirty="0" smtClean="0">
                <a:latin typeface="BlissL" panose="02000506030000020004" pitchFamily="2" charset="0"/>
              </a:rPr>
              <a:t>propost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presentações para alunos – </a:t>
            </a:r>
            <a:r>
              <a:rPr lang="pt-BR" sz="1700" dirty="0" smtClean="0">
                <a:latin typeface="BlissL" panose="02000506030000020004" pitchFamily="2" charset="0"/>
              </a:rPr>
              <a:t>incorporação na prátic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remiação </a:t>
            </a:r>
            <a:r>
              <a:rPr lang="pt-BR" sz="1700" dirty="0">
                <a:latin typeface="BlissL" panose="02000506030000020004" pitchFamily="2" charset="0"/>
              </a:rPr>
              <a:t>– trabalho de formatura sobre Incorporaç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80528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I</a:t>
            </a:r>
            <a:r>
              <a:rPr lang="pt-BR" dirty="0" smtClean="0"/>
              <a:t>magem </a:t>
            </a:r>
            <a:r>
              <a:rPr lang="pt-BR" dirty="0"/>
              <a:t>do </a:t>
            </a:r>
            <a:r>
              <a:rPr lang="pt-BR" dirty="0" smtClean="0"/>
              <a:t>Setor – </a:t>
            </a:r>
            <a:r>
              <a:rPr lang="pt-BR" smtClean="0"/>
              <a:t>Cause, Academia </a:t>
            </a:r>
            <a:endParaRPr lang="en-US" dirty="0">
              <a:sym typeface="Arial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Line 1"/>
          <p:cNvSpPr>
            <a:spLocks noChangeShapeType="1"/>
          </p:cNvSpPr>
          <p:nvPr/>
        </p:nvSpPr>
        <p:spPr bwMode="auto">
          <a:xfrm flipV="1">
            <a:off x="179512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/>
          </a:p>
        </p:txBody>
      </p:sp>
      <p:sp>
        <p:nvSpPr>
          <p:cNvPr id="9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Jurídico</a:t>
            </a: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  <a:endParaRPr lang="en-US" sz="105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4773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1916832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nexo</a:t>
            </a:r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–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ndicadore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e Mercado FIPE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51357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74625" y="72324"/>
            <a:ext cx="2525167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hangingPunct="0">
              <a:lnSpc>
                <a:spcPct val="90000"/>
              </a:lnSpc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Status - FIPE</a:t>
            </a:r>
          </a:p>
        </p:txBody>
      </p:sp>
      <p:sp>
        <p:nvSpPr>
          <p:cNvPr id="39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graphicFrame>
        <p:nvGraphicFramePr>
          <p:cNvPr id="13" name="Tabela 12"/>
          <p:cNvGraphicFramePr>
            <a:graphicFrameLocks noGrp="1"/>
          </p:cNvGraphicFramePr>
          <p:nvPr>
            <p:extLst/>
          </p:nvPr>
        </p:nvGraphicFramePr>
        <p:xfrm>
          <a:off x="179512" y="836706"/>
          <a:ext cx="8640960" cy="5400615"/>
        </p:xfrm>
        <a:graphic>
          <a:graphicData uri="http://schemas.openxmlformats.org/drawingml/2006/table">
            <a:tbl>
              <a:tblPr/>
              <a:tblGrid>
                <a:gridCol w="1481752"/>
                <a:gridCol w="1840494"/>
                <a:gridCol w="5318714"/>
              </a:tblGrid>
              <a:tr h="214736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res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ados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entário sobre contat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Direcional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janeiro de 2015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ury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dezembr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dobens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dezembr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cnis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dezembr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ssi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novembr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yrel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novembr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Brookfield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novembr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nd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outubr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MRV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outubr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PDG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dezembro (mas enviou dados agregados e incompletos)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Yuny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dou dados de setembro e novembr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Viver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dou dados de setembro e outubro (mas não dos outros meses)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mccamp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setembro (mas enviou dado do 1º trimestre agregado)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HM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dos desatualizados (até março)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Moura </a:t>
                      </a:r>
                      <a:r>
                        <a:rPr lang="pt-BR" sz="1200" b="0" i="0" u="none" strike="noStrike" dirty="0" err="1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Dubeux</a:t>
                      </a:r>
                      <a:endParaRPr lang="pt-BR" sz="1200" b="0" i="0" u="none" strike="noStrike" dirty="0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agost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ano &amp; Plan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mas ainda não enviou informações)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JHSF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ou sua participação a partir de 2015, ainda sem contato.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Odebrecht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 contato na última seman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Gafis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ão aceitou os termos propostos no termo de adesão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Andrade Gutierrez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Esser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Trisul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WTorre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8651" marR="8651" marT="86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030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yreladay_detai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43000" y="857251"/>
            <a:ext cx="6858001" cy="5143500"/>
          </a:xfrm>
          <a:prstGeom prst="rect">
            <a:avLst/>
          </a:prstGeom>
        </p:spPr>
      </p:pic>
      <p:pic>
        <p:nvPicPr>
          <p:cNvPr id="3" name="Imagem 24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25"/>
          <a:stretch/>
        </p:blipFill>
        <p:spPr>
          <a:xfrm rot="5400000">
            <a:off x="-54290" y="1740219"/>
            <a:ext cx="4463416" cy="4057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" descr="Y:\CYRELA DAY\layout\cyrela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87194" y="5021061"/>
            <a:ext cx="1719618" cy="486190"/>
          </a:xfrm>
          <a:prstGeom prst="rect">
            <a:avLst/>
          </a:prstGeom>
          <a:noFill/>
        </p:spPr>
      </p:pic>
      <p:grpSp>
        <p:nvGrpSpPr>
          <p:cNvPr id="7" name="Grupo 6"/>
          <p:cNvGrpSpPr/>
          <p:nvPr/>
        </p:nvGrpSpPr>
        <p:grpSpPr>
          <a:xfrm>
            <a:off x="4378728" y="1278154"/>
            <a:ext cx="3153482" cy="1609251"/>
            <a:chOff x="4104442" y="577863"/>
            <a:chExt cx="4204642" cy="2145669"/>
          </a:xfrm>
        </p:grpSpPr>
        <p:sp>
          <p:nvSpPr>
            <p:cNvPr id="8" name="CaixaDeTexto 10"/>
            <p:cNvSpPr txBox="1"/>
            <p:nvPr/>
          </p:nvSpPr>
          <p:spPr>
            <a:xfrm>
              <a:off x="4561507" y="1409496"/>
              <a:ext cx="3747577" cy="13140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pt-BR" sz="2902" dirty="0">
                  <a:solidFill>
                    <a:srgbClr val="C00000"/>
                  </a:solidFill>
                  <a:cs typeface="Arial" panose="020B0604020202020204" pitchFamily="34" charset="0"/>
                </a:rPr>
                <a:t>Repasse na Planta </a:t>
              </a:r>
            </a:p>
          </p:txBody>
        </p:sp>
        <p:pic>
          <p:nvPicPr>
            <p:cNvPr id="9" name="Picture 1" descr="Y:\CYRELA DAY\layout\cyrela.png"/>
            <p:cNvPicPr>
              <a:picLocks noChangeAspect="1" noChangeArrowheads="1"/>
            </p:cNvPicPr>
            <p:nvPr/>
          </p:nvPicPr>
          <p:blipFill>
            <a:blip r:embed="rId6" cstate="print"/>
            <a:srcRect l="22122" t="23908" b="29603"/>
            <a:stretch>
              <a:fillRect/>
            </a:stretch>
          </p:blipFill>
          <p:spPr bwMode="auto">
            <a:xfrm>
              <a:off x="4104442" y="577863"/>
              <a:ext cx="4143964" cy="699394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4097906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Premissas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3665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yrela (CBR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Operação sem </a:t>
            </a:r>
            <a:r>
              <a:rPr lang="pt-BR" sz="1935" dirty="0" err="1"/>
              <a:t>Prosoluto</a:t>
            </a:r>
            <a:endParaRPr lang="pt-BR" sz="1935" dirty="0"/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Itaú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Processo com menor impacto em desenvolvimento de sistemas</a:t>
            </a:r>
          </a:p>
          <a:p>
            <a:pPr algn="l"/>
            <a:endParaRPr lang="pt-BR" sz="1935" dirty="0"/>
          </a:p>
        </p:txBody>
      </p:sp>
      <p:sp>
        <p:nvSpPr>
          <p:cNvPr id="8" name="CaixaDeTexto 7"/>
          <p:cNvSpPr txBox="1"/>
          <p:nvPr/>
        </p:nvSpPr>
        <p:spPr>
          <a:xfrm>
            <a:off x="392881" y="6128015"/>
            <a:ext cx="4004989" cy="259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088" dirty="0"/>
              <a:t>1 -  PCV – Promessa de compra e Venda</a:t>
            </a:r>
          </a:p>
        </p:txBody>
      </p:sp>
    </p:spTree>
    <p:extLst>
      <p:ext uri="{BB962C8B-B14F-4D97-AF65-F5344CB8AC3E}">
        <p14:creationId xmlns:p14="http://schemas.microsoft.com/office/powerpoint/2010/main" val="2535611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Etapas da Operação...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131685" y="3690195"/>
            <a:ext cx="3308470" cy="252488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Análise de Crédito model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 PCV com </a:t>
            </a:r>
            <a:r>
              <a:rPr lang="pt-BR" sz="1451" i="1" dirty="0" err="1"/>
              <a:t>check</a:t>
            </a:r>
            <a:r>
              <a:rPr lang="pt-BR" sz="1451" i="1" dirty="0"/>
              <a:t> </a:t>
            </a:r>
            <a:r>
              <a:rPr lang="pt-BR" sz="1451" i="1" dirty="0" err="1"/>
              <a:t>list</a:t>
            </a:r>
            <a:r>
              <a:rPr lang="pt-BR" sz="1451" i="1" dirty="0"/>
              <a:t> </a:t>
            </a:r>
            <a:r>
              <a:rPr lang="pt-BR" sz="1451" dirty="0"/>
              <a:t>das documentações para o repasse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s obrigações com a Cyrela (ato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repassa cliente para 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libera a comissão do corretor; 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3614285" y="3690195"/>
            <a:ext cx="2524885" cy="110281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F com o banco e cancela a PCV;</a:t>
            </a:r>
          </a:p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A AF será divida em duas partes: Terreno e Obra; </a:t>
            </a:r>
          </a:p>
        </p:txBody>
      </p:sp>
    </p:spTree>
    <p:extLst>
      <p:ext uri="{BB962C8B-B14F-4D97-AF65-F5344CB8AC3E}">
        <p14:creationId xmlns:p14="http://schemas.microsoft.com/office/powerpoint/2010/main" val="926089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0" y="3690195"/>
            <a:ext cx="4120565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à primeira parte do contrato, valor d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mortização com o Itaú, referente ao valor liberado pra Cyrel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corrige a INCC a segunda parte do contrato, valor da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é coobrigada em fase de obra; </a:t>
            </a:r>
          </a:p>
          <a:p>
            <a:pPr marL="345500" indent="-345500" defTabSz="1157427">
              <a:buFontTx/>
              <a:buChar char="-"/>
            </a:pPr>
            <a:endParaRPr lang="pt-BR" sz="1451" dirty="0"/>
          </a:p>
        </p:txBody>
      </p:sp>
      <p:sp>
        <p:nvSpPr>
          <p:cNvPr id="35" name="Retângulo 34"/>
          <p:cNvSpPr/>
          <p:nvPr/>
        </p:nvSpPr>
        <p:spPr bwMode="auto">
          <a:xfrm>
            <a:off x="5355585" y="3690195"/>
            <a:ext cx="3308470" cy="2089560"/>
          </a:xfrm>
          <a:prstGeom prst="rect">
            <a:avLst/>
          </a:prstGeom>
          <a:solidFill>
            <a:srgbClr val="FFD5D5"/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57427"/>
            <a:r>
              <a:rPr lang="pt-BR" sz="1451" u="sng" dirty="0"/>
              <a:t>Coobrigação</a:t>
            </a:r>
          </a:p>
          <a:p>
            <a:pPr defTabSz="1157427"/>
            <a:endParaRPr lang="pt-BR" sz="1451" dirty="0"/>
          </a:p>
          <a:p>
            <a:pPr algn="just" defTabSz="1157427"/>
            <a:r>
              <a:rPr lang="pt-BR" sz="1451" dirty="0"/>
              <a:t>Caso o cliente fique inadimplente o Itaú poderá fazer leilão da unidade (via consolidação de AF). Se não houver arrematante nas duas praças do leilão a SPE fará a arrematação pela dívida, unidade volta ao estoque e cliente perde 100% do valor pago. 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129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1" y="3690195"/>
            <a:ext cx="44688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 primeira parte do contrato com o Itaú, referente a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 à segunda parte do contrato,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O Valor liberado é corrigido a INCC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 amortização da segunda parte do contrato, divida inicial é o valor da obra corrigida a INCC;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5898812" y="3690195"/>
            <a:ext cx="27275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da a posse da unidade ao cliente (se adimplente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Termina prazo de Coobrigaçã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endParaRPr lang="pt-BR" sz="1451" dirty="0"/>
          </a:p>
          <a:p>
            <a:pPr defTabSz="1157427"/>
            <a:endParaRPr lang="pt-BR" sz="1451" dirty="0"/>
          </a:p>
          <a:p>
            <a:pPr defTabSz="1157427"/>
            <a:endParaRPr lang="pt-BR" sz="1451" dirty="0"/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139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574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dirty="0"/>
              <a:t> </a:t>
            </a:r>
            <a:r>
              <a:rPr lang="pt-BR" sz="1700" dirty="0" smtClean="0"/>
              <a:t>VOCÊ </a:t>
            </a:r>
            <a:r>
              <a:rPr lang="pt-BR" sz="1700" dirty="0"/>
              <a:t>NÃO PODERÁ</a:t>
            </a:r>
            <a:r>
              <a:rPr lang="pt-BR" sz="1700" dirty="0" smtClean="0"/>
              <a:t>:</a:t>
            </a:r>
          </a:p>
          <a:p>
            <a:endParaRPr lang="pt-BR" sz="1700" dirty="0"/>
          </a:p>
          <a:p>
            <a:r>
              <a:rPr lang="pt-BR" sz="1700" dirty="0"/>
              <a:t>1. Discutir ou trocar informações que tratem de ou sugiram:</a:t>
            </a:r>
          </a:p>
          <a:p>
            <a:r>
              <a:rPr lang="pt-BR" sz="1700" dirty="0"/>
              <a:t>a) Preços praticados por sua empresa, alterações ou projeções de preços, remarcações, descontos ou política, provisões, condições de crédito ou dados relativos a atribuição de preços, custos, produção, capacidade, inventários, vendas de forma individualizada e outros dados correlatos;</a:t>
            </a:r>
          </a:p>
          <a:p>
            <a:r>
              <a:rPr lang="pt-BR" sz="1700" dirty="0"/>
              <a:t>b) </a:t>
            </a:r>
            <a:r>
              <a:rPr lang="pt-BR" sz="1700" dirty="0" smtClean="0"/>
              <a:t>Perspectivas </a:t>
            </a:r>
            <a:r>
              <a:rPr lang="pt-BR" sz="1700" dirty="0"/>
              <a:t>ou projeções de mercado, capacidade atual ou futura e inventários;</a:t>
            </a:r>
          </a:p>
          <a:p>
            <a:r>
              <a:rPr lang="pt-BR" sz="1700" dirty="0"/>
              <a:t>c) Ofertas a serem oferecidas para empreendimentos específicos;</a:t>
            </a:r>
          </a:p>
          <a:p>
            <a:r>
              <a:rPr lang="pt-BR" sz="1700" dirty="0"/>
              <a:t>d) assuntos relativos a fornecedores ou clientes individuais reais ou potenciais, que possam ter o efeito de exclusão dos fornecedores ou clientes em questão, de qualquer mercado ou de influenciar a condução dos negócios de empresas com os mesmos;</a:t>
            </a:r>
          </a:p>
          <a:p>
            <a:r>
              <a:rPr lang="pt-BR" sz="1700" dirty="0"/>
              <a:t>e) informações sobre onde projeta-se atuar ou deixar de atuar</a:t>
            </a:r>
            <a:r>
              <a:rPr lang="pt-BR" sz="1700" dirty="0" smtClean="0"/>
              <a:t>.</a:t>
            </a:r>
            <a:r>
              <a:rPr lang="pt-BR" sz="1700" dirty="0"/>
              <a:t> </a:t>
            </a:r>
            <a:endParaRPr lang="pt-BR" sz="1700" dirty="0" smtClean="0"/>
          </a:p>
          <a:p>
            <a:endParaRPr lang="pt-BR" sz="1700" dirty="0"/>
          </a:p>
          <a:p>
            <a:r>
              <a:rPr lang="pt-BR" sz="1700" dirty="0"/>
              <a:t>2. Discutir ou trocar informações, mesmo por brincadeira, relativas aos assuntos acima, durante quaisquer encontros sociais, incidentais a quaisquer reuniões.</a:t>
            </a:r>
          </a:p>
          <a:p>
            <a:r>
              <a:rPr lang="pt-BR" sz="1700" dirty="0"/>
              <a:t> </a:t>
            </a:r>
          </a:p>
          <a:p>
            <a:r>
              <a:rPr lang="pt-BR" sz="1700" dirty="0"/>
              <a:t>A ABRAINC desempenha papel de responsabilidade ética e de boa governança corporativa no setor das incorporadoras e agradece seus associados, autoridades, membros do corpo administrativo, seus consultores e participantes a atenção e respeito às disposições constantes nesta instrução</a:t>
            </a:r>
            <a:r>
              <a:rPr lang="pt-BR" sz="1700" dirty="0" smtClean="0"/>
              <a:t>.</a:t>
            </a:r>
            <a:endParaRPr lang="pt-BR" sz="1700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>
          <a:xfrm>
            <a:off x="-1692696" y="116632"/>
            <a:ext cx="7397750" cy="4903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fontAlgn="base" hangingPunct="0">
              <a:spcAft>
                <a:spcPct val="0"/>
              </a:spcAft>
            </a:pPr>
            <a:r>
              <a:rPr lang="pt-BR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0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37339589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etângulo 138"/>
          <p:cNvSpPr/>
          <p:nvPr/>
        </p:nvSpPr>
        <p:spPr bwMode="auto">
          <a:xfrm>
            <a:off x="174131" y="5154763"/>
            <a:ext cx="8838184" cy="149564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97" name="Retângulo 96"/>
          <p:cNvSpPr/>
          <p:nvPr/>
        </p:nvSpPr>
        <p:spPr bwMode="auto">
          <a:xfrm>
            <a:off x="174131" y="2384220"/>
            <a:ext cx="8838184" cy="716399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4630" y="1163701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1750" y="1114483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1322086" y="1078246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>
            <a:off x="1176466" y="1948898"/>
            <a:ext cx="5398029" cy="958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1549022" y="1809501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403589" y="1809499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5173014" y="1812983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1176465" y="2077219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2917765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4746130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 dirty="0">
                <a:solidFill>
                  <a:srgbClr val="C00000"/>
                </a:solidFill>
              </a:rPr>
              <a:t>Fluxo Financeiro</a:t>
            </a:r>
          </a:p>
        </p:txBody>
      </p:sp>
      <p:cxnSp>
        <p:nvCxnSpPr>
          <p:cNvPr id="20" name="Conector de seta reta 19"/>
          <p:cNvCxnSpPr/>
          <p:nvPr/>
        </p:nvCxnSpPr>
        <p:spPr bwMode="auto">
          <a:xfrm flipV="1">
            <a:off x="1176466" y="2852155"/>
            <a:ext cx="5398029" cy="6530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" name="AutoShape 2" descr="data:image/jpeg;base64,/9j/4AAQSkZJRgABAQAAAQABAAD/2wCEAAkGBxQQDw8ODxQPEA0PEA8PDQ4PDw8QDw8OFBQWFxURFBQYHCggGBolHBUUITEtJSk3Li4uFx83PDUsNygtLisBCgoKDg0OGxAQGi0kHyQtLywsMC8sLCwsLCwsLSwsLCwsLCwsLCwsLDQsLCwsLDQvLC0sLCwsLCwsLCwsLywsLP/AABEIAKAAoAMBEQACEQEDEQH/xAAcAAABBQEBAQAAAAAAAAAAAAAAAQIFBgcDBAj/xABMEAABAwICAgwKBwYDCQAAAAABAAIDBBEFEgYHExQhMTVBUWFzgZGyFyIlVFVxdJKxsyMyUqHB0tMkQmJkcqI0lMIVRGOCg5PR4fD/xAAbAQABBQEBAAAAAAAAAAAAAAAAAQIDBAUHBv/EAD0RAAIBAwEEBgYKAAYDAAAAAAABAgMEERIFBiExEzIzQVFxIlJTgZGxFCM0NWFyocHR8CQlQmKS4RZDgv/aAAwDAQACEQMRAD8A3FAFc0r0yp8OAEpL53C7KeOxkPJf7I9at21lVuH6K4ePcRVK0afMoVbp1iNRuxiGijO9m+klt1j8AtqlsmhHrZk/gv77ynK6m+XAi34lWu+tiM1/4WZR9zgrisqC/wDUiN1qj/1Dds1fpGp/v/OnfRaPskN6SfrMcJ6r0jU/3fnSfRqPskL0k/WYuzVXpKq7HfqI+jUfZINc/XY4S1XpKq7HfqJPo9H2K/vuDXP12KH1XpKq7HfqJPo9H2Mf77g1z9dih1V6Sqvdd+ojoKPsY/33C65+uxf2r0lVe679RJ0FH2Mf77g1z9di2qvSVV7rv1EdDR9iv77g1T9djTtv0lVdj/1EvQUfYoNc/XYhdV+kqnsf+ojoKPskGufrsaZKv0lU9j/zpfo9D2SE1z9ZjTPV+kan+/8AOl+jUPZIOkn6zFZidazdbiEpP8bMw+8lDsrd86SDpai/1EpQ6wK6nP0zYayIb5b9HJbqH4FVqux6E+o3F/Ff33kkbucefE0PRvSmCvb9ES2UDM6GSwkA5RxOHOFg3VlVtn6a4eK5F2lWjUXAnFUJSt6e6TDDqN0wsZ3nY6dh45CPrW5Bv9it2ds7iqo93f5EVap0ccmLwXa508xMlXKS6SR5u4E8QXsIU4xiopYS7jKcm3ljZaslPbEOBqUzULgTbSNQuBdto1hgXbaNYYDbiNYYF24eVGoMC7dPKjWGBdvHlRrDAu3zypNQYF2+eVGoMCGu50awwNNdzo1hgY6u50msXAzbiTWGBwq05TEwPoMY2CeN93NbnBzs+vE/ilbz8o3iN9MrJVIuL/v9/QI5i8o3/R7E9sw5nZRMw5Jg36uawIc3+FwIcPWvH3FHop6e7uNanPVHJk+tXENnxWODfjo4r24tkdZx/wBHYt7Y9PTScvF/Io3csyx4FSnnWu2VkjyvlUbkOSORlTHIXAmyJMi4E2VGQwIZkZAaahGQwNNUkyAw1iMgMNak1oMDDWlGtBgaawpNYYE22UnSC4GmpcjpAwIag8qTWwwAqXBJ0guDtFXHeKOkDSLVy3CVz4CYNk1SYuXiEE7r43U0m7vviu+I+6ZR2LK2nDMVP+8ef7Fm2lh4KLpZNmxbEXHf2VzeoWH4LS2fwoR8ivX7RkNK9W2yNHnc5RtijHPTcjjm6VJkDm6VGQObpkmQwczKk1i4GlybqYYEukyKF0ZALoyAIyAJMgIjIBdJkUQlI2A0lMbFOhkuLJdXATBomqWoLZGc1VB/dmae8obr0qDH0uE0ROlR8qYh7RL3lcsuxj5EVbrsiJHKyyM5OKYxxxe5MFOLnIA5FyY5DsDU0AQAIAEACQAQKCABACIAEgCFNYo0pjFEum5FNA1WH6Vo/mqX5gSVuxkEOujwaWnypiHtEveVyy7GPkRVuuyIeVYYxHJxTGKeeQprFODio2xwiaAIAECggAQAIAEAIgASACAESCgU1gNKaxRqYKX3VYfp2D+ZpfmIq9jLyCHXR49MD5Ur/aJe8rdl2MfIirddkO4qyyNHF5TGOPNIUyTHI5qMUEgoIAEACABACIAEgAgAQAiQUEgCJGAhTGKNTBS86rT+1MH8xS/MS1exl5CQ66PJpmfKld7RN3lbsuxj5Edbrsh3FWWRo5SFMY48z1FIchqYKCBQQAIARAAgASACABAAkARAoJAEKQBCmMUamCl11Xn9tiHLPT99LV7GXkJDro82m/Cld7TL3irVn2MPIjrddkOSrTI0cpCmMcecqFjxE0UEACAEQAJABAAgAQAJAEQKCQAQAiQBCmMUamCly1Yn9vg6aDvhLV7GfkJDro4adcJ13tMveVm07CHkMrdoyFLuNWyNHCSVvKO0JrTHqL8Dne+9uquxwhNkAJsg5R2hGl+Aul+At0ggIAEgAgAQAJAEQAIFBIAIAZsg5R2owx2l+AZr726o2gwImAW/VkfKNOOWaHvJavYz8hIddDNOh5TrvaZe8VatOwj5Daq+sYugPCdF0jt/mY5UdvScdm1muekktVmtE3POebsC4h9Kr+vL4s9L0cPAw3WcfKs/RwnrsV1LdGpKVgtTzxfMxtoxSqLA3VrwrS/9X5blobxScdm1WuHD90QWizVRud//AKwXHPpFb15fF/yeg0R8DAtOuFK3pR3GrsO7kpS2ZRbeeH7swb5JVnggluYKgJMACABGABGBREmABGABIBZ9ANGP9oVJ2S+1KfK+pI/fv9WEHldY9QKxtt7Vjs+3c/8AU+EfMs21B1Zmx47jUVDTuqJiGRMGVkbA0F7reLHG3l+C5VbRu7+vohJtvi+Lwvxf4G3Lo6ceKMD0k0jmxCoNRNZrQC2GFpu2KO/1RynlPGuo7LsFZ09EW34t82zGr1ekZGrXKxbdWvCVL00XeS1exn5BDrodp0PKVd7RL3irFn2EfISqvTYmgHClH0jvlvWdvB921/yklr2sfM3LKuGHpMmG60NzFZzyRQn7iur7nfYV5syNoLM0WXQjQepp6umrJTDsIaX2bIXPs+M5Ra38QVTb28dlWtattBvXy5d6YW1rUjNTfI03KuZ5NfJluk2r+rqK2pqItg2OWQOZmlLXWytG6Lcy6RsXeawtbGnRqyeqK48PxMu6talSo5RM/r6R0MskEltkie6N9jcZhv2K9rbXELilGrT6sllGdOm4ScWSeCaK1VYM0ETti3tmk+ji6nH63VdVb3a1nZdvUSfhzfwH06E6nVRaafVPMReSogYeRsckluu7QvOVd97KPUhKXwXzLUdnz72Pm1SygeJVROPI6B7B2hxUcN+rVv0qMl70xz2fLuZUtINF6mhsahn0ZNmzMOeInkJ4j616PZ22bO/7CeX4Pg/gVKtvOn1kQ1lqEOCyYBoRU1sG2IdhERe5g2SQtcXNtfcseVY20Nu2dhUVOu2m1ngsk9O2nUWYnTGdAqqkgfUymAxx2Lskhc6xNtwWUFrvLYXVaNGnJ6pcuA6dnUjFyaPNg2mVXRwinpjC2IOc+zoQ5znu33F1907w6k7aWwbe/qdJWbyuHPgLRuZUlhIGsrMdq2se+N0rInuYHfRwxsFs1gL7p3OxV1a2exqDnh6c8e9+8e6k68sEsNVVZ9uk/wC678qr/wDlmzl3v4C/QqpT8SoHU88tPJl2SF5Y/KbtvzHrW/b3ELilGrDlJZRWnTcXhli1bt8p0nTR/FTVX9TPyGRj6aHadcJVvtEveKs2nYR8hKq9JjdAeFKLpHfLes/b/wB21/yj7ZfWxN1suFnoTCtaYvitQP8AgxfArq+5v2FebMu+66NO0e0xpJzT0kUhNQY2MDDHIPGZGMwuRbiK8TtXYt7SqVa84Yjqbzlcmy7SrQcUkyz2Xnicr+I6a0VPM+CaXLLGQJGiOR1iQDa4HIQti22Df3NJVaVPMXy4oilWhF4bMU0gqWzVlVNGbxyTPex1iLtJ3DYrreyKE6NlSp1FiSikzIuGpVG0aJoNppT0+Gtjq5MslPI+ONgBdI+I2c0taOIZiOpeL3l2Dc3O0FO3hlSXF9ya4cWXbWvGNPEnyCr1sxg/Q0srx9qWZkV+oByho7jXEl9ZVivJN/uh0r6C5JnuwLWZBUSNhnifSueQ1jy9ssWY7gBdYFvWLKvfbmXVvTdSlNTS5rGH8OOfiOp3kJPD4F2qqZsjHxStDo3gtexwuCDvgryVOrUo1FODxKL4PvTLTw1h8j590qwbaVZLTXJY0h0TjvmJ262/ON0dS7XsbaK2hZwr9/KXmuf8mJXpdHNruNU1S8Ft9oqPi1eB32f+Nj+Uv2XUPZrJHkqs/oHeCyN3fvKl5/sWK/ZswhdnMIuuqB3lS3LTTjurze9T/wAvl5r5MtWnaG0WXITYyfPOm/Ctf057rV2HYb/wNL8qMi4XpslNWw8p0nTM+K2avYy8iKC4iadcJVvtEveVq07GPkRVesM0C4Vould8t6z9v/d1b8o637WJu9lw3Sb2TC9aHC83RQ/Arq2532FebMy+6/uE1bDyrSeuX5blp7yL/LKvl+6ILbtEbrZcX0M2smA6djyrXdK35bF2Tdj7speT+bMm77VkGvQFbBL6PaN1Fe5zadl2MIEkzzliYTxF3GbcQ3Vn3+07axhqryxnku9+4khSlN+iXzD9UrAL1NTI8/ZgjbG0f8z8xPYF46533fK3o++T/ZFuNl6zJdmrGgtZzZ3cuad+72WWZLfHaT5aV/8AJKrSmi42Xk5pzk5Pmy0uBkGuVlq2nP2qY357PNviukbjt/Rqsf8AcvkZ97ziy26pB5Lb7RUd4LD3zjm/X5V8kTWnCB69ZY8k1f8AS3vBZW70cbSpef7EtZ/Vswmy7KY2C56oh5Vb7PUf6V5vepf4B+a+TLNr2htWVcl0Grk+d9OeFa/pz3Wrrew/sNH8qMuv12SmrXhOk6VnxWzW7KXkRx5iad8JVvtEveVuz7GPkQ1esM0B4Voeld8t6obe+7q35f4Ft+0RvVlxTSbhhOtHhefoofgV1DdD7EvNmfedb3CatT5VpPXL8ty0t4lnZtXy/cgt+0RvFlx/Sax8/afC2K13PK09WRq63uw/8tp+/wCbM267QisMonVE8NMw2fPIyJriLhuY7rrcdhc9S2bivGhSlVlyimyvGOXg+jsPoI6eKOCFoZFG3KxvxJ5Sd8ri13c1Lus61V5b/T8DYhFRWEUrWBp66hlFJSsY6oyB8sslyyIH6oDR9YndO/uda3Nh7vq/i6tR4injhzfjx7iKtX6Ph3meVWnmIOu7bL27hNo2Rtb8CvZUt19nR4Onnzb/AJKjuqhvVA4uhhc7dc6KJzjyuLASe1cxuaUYVpRjyTZoReVkyXXT/jaX2Z3zF7jcvhRqr/cvkVLzuLZqgN8LA5KmoB7QfxWVvdHN9n8F8iS1foEjrHhLsKrAN0iPNb+kgrI2M1C/ot+tj4k1TjB+RgQXYUY5edTsJdiTngeLHTS5jyZi0BeY3qmlZqL73+zLNqvTNosuZaDSyfOmnQ8q1/TnutXUNifYqX5TNrddknq14To+lZ8Vs1uyl5EceYaecJVvtEnxVuz7CPkRVesc9Aj5Voeld8t6o7e+7q35f3QtDtEb2uLG0YPrSPlefo4fgV0zdL7GvNlC863uI3RTEW01fR1DzaOOZuyHiaxwLC48wDr9S39p0HcWlSlHm08efMrUpaZpn0WQuLGwU/SrV/DXzbY2SSCYgNeWNa9rwN4lp4/UV6DZG8NbZ0HSUVKOc4bw15MgrUFU48mZbTlmG4ywFxdFR1bWve4AEx2Ac8gcgcT1L3ka0tpbNcksOcXw/Hu+RScejqYPoMc26OIjdBHKFyfGODNMzXWBoFNV1RrKUxuL2NbJE92Qgt3nNPHufBeu3f29Rs6ToV08ZymuPPuaK1xRc3mJ4dGdVkhlbJXmNsLSCaeN2d0tv3XO3mt5eVae0N66KpuNqm5PvfDBDTtnn0jWV4DOeJeMb12f42k9md8xe63O7Or+ZfIqXfcSOpTFwNs0LiA5zm1MFz9bcyyNHqsw9ZTd7rRvRcLl1X81838BLWXOJqMsYc1zHAFrgWuB3QQd8FeIwXUzOKzVHE6QuhqJIYib7GYmy5RyNcXDc9d16623vrwpqNampNd6eM+a/hlSVrFvKeC4aO4BT4bFsUO4ZHNEksjhsk0m80E9tgFhbR2nWv6mqp3ckuSJqdJQWETKzcEh856c8K1/tB7rV0vYv2Kl+UoVesyS1bcJ0fTMWzWf1UvIjjzH6x48mKVgPHK53bY/irFlL6iJHVXEhcBxTalXBVZdk2F5dkDspddpba/FvqPaNs7q2qUE8aljPPA2lLTJNl6OuJo/3OT/ADDPyrnL3PrReHVX/F/yaiuoPuKFpTjm36x9WGGIPaxuQuDyMoO7cAL1+w7CVjRVKTzz44xzKtxUU3lEYSt7JWL7orrPkpY2QVUZqIWANjkY4NnY0bzSHbj+0FeM2tutGvUda2lpb4tPk34rHL9S5SucLEi0P1uUQbcMq3O+xsTQe0usvPf+M32cPT8f+ix08DJcbxHbVXU1QaWCeQyBhIcWggCxPUvf7Jt3bW8aLecLGSjWlqlkteiOsiWijbTzs2zTMsI7PyzRN5ATuOHMbetY+192YXU3WoS0yfNdzfj+D/uCWlcaViRb/C5RZb7HV5vsbEy/bmsvNPdm+Tx6Pxf8Fnp4FU0o1pT1LHQ0jDSxOBa6UvzVDmniFtxnVcrY2fuzGnJTrvU/DHo/y/0Ip3HqnuwnW0YaeGGSlfLJFG2N0oqGtz5RYOsW7hsmXW6s5VZTp1Eot5xjl+oRuVjiVbTfSn/ac8UwiMAiiMWUyCQuu7Ne4AstnYezJ2ClGUs6nnljuIq9RT5ELS1T4ZGTROdHLG4Oje3fa4ca3a1KFaDp1FmL5orxbi8o07CNb4DQ2sgfnFhstOWlrucsdbL1Erwl5upVhLNvNNeEuDXvWc/BF6FzF81g9dZrhp2tOw09TI/iDzHEy/Obk/cqlPdq7k/TlFL3t/JfMc68O4z/ABvTSqrKmCpkIYKaVstPTsJEbXNIO79om1rniK9HabDo0aMqa4uSw2+f/XjgglWbafgXY65m+ZSf5llu4sOW69VPjVX/ABf8kyuI+Bm+N4ltqrqKrLsezyGTY82bLuAWvYX3l6mxofR6MKWc6VjJWk8tstGq2HPilKB+6/MfUBdXa0vqpDUT2vDCjHWMqQPEqI9/izssCOwtTtnVPQcfAbNZMvc5X3IgwcnFRywxyEukyhQzI1CiZkmoAuk4ChmRkAzJdQBmSNoUMyTIC3S6gwCTIuBUuoMAjUGATcoMAkchcAoZPIorVGBrOojCi+pnqiPEhjDGnle+/wCAPaormWIJeII1DTbRxuI0b6c2Eg8eB5/dkG91HeVa3q9FPPd3itHzDjGHSU0r4JmuZKw2c074/wDS2nPgn3PkRackeSmuYYGlya5i4G5k3WGAuk1i4C6NYYC6NYYC6NYYC6TWGBcyNYuAzI1gODkaxRQ5JrAXMl1gLmRqALprkABN4sMkjguFS1UzIIGl8rzZrR8TyAKWNNJa58Ehjl3I+oNENH24fSR0zbFw8aV4Fs8p3z+HUsutU6SeokSwTSiFIHSjRKmxFmWpZ44BDJmeLKz1HjHrU9G4nS4LivB8hHFMyXG9SdQwk0k0U7OJsgMTwOffBVtXFGfjH9V+z+Y30l+JV6nVniLDY07nc7CHBPSpy5VF+oZfgefweYj5rN7qXo4e0iJqfgHg8xHzWb3UdHD2kQ1PwDweYj5rN7qOjh7SIan4B4PMR81m91HRw9pENT8A8HmI+aze6jo4e0iGp+AeDzEfNZvdR0cPaRDU/APB5iPms3uo6OHtIhqfgHg9xHzWb3UdHD2kQ1PwDwe4j5rN7qOjh7SIan4B4PcR81m91HRw9pENT8BfB7iPms3uo6OHtIhqfgL4PcR81n91L0cPaRDU/A9NLq1xF5ttd7ed5DR96cugjzmvdkT0n3FqwTUrO8g1cscLONsYMsh5hvAJsr2hDqJy8+CE0SfNms6M6LU2HMyUzLOIAfK7xpH25Xf+FnVridZ+k/d3EkYpciaUI4//2Q=="/>
          <p:cNvSpPr>
            <a:spLocks noChangeAspect="1" noChangeArrowheads="1"/>
          </p:cNvSpPr>
          <p:nvPr/>
        </p:nvSpPr>
        <p:spPr bwMode="auto">
          <a:xfrm>
            <a:off x="188101" y="31671"/>
            <a:ext cx="368524" cy="36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0557" tIns="55279" rIns="110557" bIns="55279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31" y="3634203"/>
            <a:ext cx="415097" cy="415097"/>
          </a:xfrm>
          <a:prstGeom prst="rect">
            <a:avLst/>
          </a:prstGeom>
        </p:spPr>
      </p:pic>
      <p:pic>
        <p:nvPicPr>
          <p:cNvPr id="1661968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15" y="250235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2471285"/>
            <a:ext cx="351152" cy="553463"/>
          </a:xfrm>
          <a:prstGeom prst="rect">
            <a:avLst/>
          </a:prstGeom>
          <a:noFill/>
        </p:spPr>
      </p:pic>
      <p:cxnSp>
        <p:nvCxnSpPr>
          <p:cNvPr id="46" name="Conector de seta reta 45"/>
          <p:cNvCxnSpPr/>
          <p:nvPr/>
        </p:nvCxnSpPr>
        <p:spPr bwMode="auto">
          <a:xfrm>
            <a:off x="2482440" y="3633157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Conector de seta reta 49"/>
          <p:cNvCxnSpPr/>
          <p:nvPr/>
        </p:nvCxnSpPr>
        <p:spPr bwMode="auto">
          <a:xfrm flipV="1">
            <a:off x="1176466" y="3895398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1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3516065"/>
            <a:ext cx="351152" cy="553463"/>
          </a:xfrm>
          <a:prstGeom prst="rect">
            <a:avLst/>
          </a:prstGeom>
          <a:noFill/>
        </p:spPr>
      </p:pic>
      <p:pic>
        <p:nvPicPr>
          <p:cNvPr id="52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443801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Conector de seta reta 52"/>
          <p:cNvCxnSpPr/>
          <p:nvPr/>
        </p:nvCxnSpPr>
        <p:spPr bwMode="auto">
          <a:xfrm flipV="1">
            <a:off x="1176466" y="4635450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4" name="Imagem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4263888"/>
            <a:ext cx="415097" cy="415097"/>
          </a:xfrm>
          <a:prstGeom prst="rect">
            <a:avLst/>
          </a:prstGeom>
        </p:spPr>
      </p:pic>
      <p:sp>
        <p:nvSpPr>
          <p:cNvPr id="55" name="Retângulo 54"/>
          <p:cNvSpPr/>
          <p:nvPr/>
        </p:nvSpPr>
        <p:spPr bwMode="auto">
          <a:xfrm>
            <a:off x="1176465" y="2511937"/>
            <a:ext cx="1218910" cy="3619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58" name="Conector de seta reta 57"/>
          <p:cNvCxnSpPr/>
          <p:nvPr/>
        </p:nvCxnSpPr>
        <p:spPr bwMode="auto">
          <a:xfrm>
            <a:off x="126353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Conector de seta reta 60"/>
          <p:cNvCxnSpPr>
            <a:stCxn id="55" idx="0"/>
          </p:cNvCxnSpPr>
          <p:nvPr/>
        </p:nvCxnSpPr>
        <p:spPr bwMode="auto">
          <a:xfrm>
            <a:off x="1785921" y="2511937"/>
            <a:ext cx="1" cy="36198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2" name="Conector de seta reta 61"/>
          <p:cNvCxnSpPr/>
          <p:nvPr/>
        </p:nvCxnSpPr>
        <p:spPr bwMode="auto">
          <a:xfrm>
            <a:off x="230831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6" name="Retângulo 65"/>
          <p:cNvSpPr/>
          <p:nvPr/>
        </p:nvSpPr>
        <p:spPr bwMode="auto">
          <a:xfrm>
            <a:off x="2428969" y="4273465"/>
            <a:ext cx="2781028" cy="361984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67" name="Conector de seta reta 66"/>
          <p:cNvCxnSpPr/>
          <p:nvPr/>
        </p:nvCxnSpPr>
        <p:spPr bwMode="auto">
          <a:xfrm>
            <a:off x="251603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8" name="Conector de seta reta 67"/>
          <p:cNvCxnSpPr/>
          <p:nvPr/>
        </p:nvCxnSpPr>
        <p:spPr bwMode="auto">
          <a:xfrm>
            <a:off x="303842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9" name="Conector de seta reta 68"/>
          <p:cNvCxnSpPr/>
          <p:nvPr/>
        </p:nvCxnSpPr>
        <p:spPr bwMode="auto">
          <a:xfrm>
            <a:off x="356081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4" name="Conector de seta reta 73"/>
          <p:cNvCxnSpPr/>
          <p:nvPr/>
        </p:nvCxnSpPr>
        <p:spPr bwMode="auto">
          <a:xfrm>
            <a:off x="404961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5" name="Conector de seta reta 74"/>
          <p:cNvCxnSpPr/>
          <p:nvPr/>
        </p:nvCxnSpPr>
        <p:spPr bwMode="auto">
          <a:xfrm>
            <a:off x="457200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Conector de seta reta 75"/>
          <p:cNvCxnSpPr/>
          <p:nvPr/>
        </p:nvCxnSpPr>
        <p:spPr bwMode="auto">
          <a:xfrm>
            <a:off x="509439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9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6061177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" name="Conector de seta reta 79"/>
          <p:cNvCxnSpPr/>
          <p:nvPr/>
        </p:nvCxnSpPr>
        <p:spPr bwMode="auto">
          <a:xfrm flipV="1">
            <a:off x="1176466" y="6258609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81" name="Imagem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5887047"/>
            <a:ext cx="415097" cy="415097"/>
          </a:xfrm>
          <a:prstGeom prst="rect">
            <a:avLst/>
          </a:prstGeom>
        </p:spPr>
      </p:pic>
      <p:sp>
        <p:nvSpPr>
          <p:cNvPr id="91" name="Retângulo 90"/>
          <p:cNvSpPr/>
          <p:nvPr/>
        </p:nvSpPr>
        <p:spPr bwMode="auto">
          <a:xfrm>
            <a:off x="5174849" y="5853096"/>
            <a:ext cx="1225516" cy="361984"/>
          </a:xfrm>
          <a:prstGeom prst="rect">
            <a:avLst/>
          </a:prstGeom>
          <a:solidFill>
            <a:srgbClr val="FFD5D5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1157427"/>
            <a:r>
              <a:rPr lang="pt-BR" sz="2176" dirty="0">
                <a:solidFill>
                  <a:srgbClr val="C00000"/>
                </a:solidFill>
              </a:rPr>
              <a:t>...</a:t>
            </a:r>
            <a:endParaRPr lang="pt-BR" sz="1451" dirty="0">
              <a:solidFill>
                <a:srgbClr val="C00000"/>
              </a:solidFill>
            </a:endParaRPr>
          </a:p>
        </p:txBody>
      </p:sp>
      <p:cxnSp>
        <p:nvCxnSpPr>
          <p:cNvPr id="92" name="Conector de seta reta 91"/>
          <p:cNvCxnSpPr/>
          <p:nvPr/>
        </p:nvCxnSpPr>
        <p:spPr bwMode="auto">
          <a:xfrm>
            <a:off x="5209997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3" name="Conector de seta reta 92"/>
          <p:cNvCxnSpPr/>
          <p:nvPr/>
        </p:nvCxnSpPr>
        <p:spPr bwMode="auto">
          <a:xfrm>
            <a:off x="5645322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3" name="Imagem 10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29" y="5344430"/>
            <a:ext cx="415097" cy="415097"/>
          </a:xfrm>
          <a:prstGeom prst="rect">
            <a:avLst/>
          </a:prstGeom>
        </p:spPr>
      </p:pic>
      <p:cxnSp>
        <p:nvCxnSpPr>
          <p:cNvPr id="104" name="Conector de seta reta 103"/>
          <p:cNvCxnSpPr/>
          <p:nvPr/>
        </p:nvCxnSpPr>
        <p:spPr bwMode="auto">
          <a:xfrm>
            <a:off x="5181455" y="5343384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5" name="Conector de seta reta 104"/>
          <p:cNvCxnSpPr/>
          <p:nvPr/>
        </p:nvCxnSpPr>
        <p:spPr bwMode="auto">
          <a:xfrm flipV="1">
            <a:off x="1139364" y="5628927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6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54968" y="5226292"/>
            <a:ext cx="351152" cy="553463"/>
          </a:xfrm>
          <a:prstGeom prst="rect">
            <a:avLst/>
          </a:prstGeom>
          <a:noFill/>
        </p:spPr>
      </p:pic>
      <p:sp>
        <p:nvSpPr>
          <p:cNvPr id="136" name="CaixaDeTexto 135"/>
          <p:cNvSpPr txBox="1"/>
          <p:nvPr/>
        </p:nvSpPr>
        <p:spPr>
          <a:xfrm>
            <a:off x="7804947" y="2572009"/>
            <a:ext cx="918841" cy="3155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1">
                    <a:lumMod val="50000"/>
                  </a:schemeClr>
                </a:solidFill>
              </a:rPr>
              <a:t>ETAPA A</a:t>
            </a:r>
          </a:p>
        </p:txBody>
      </p:sp>
      <p:sp>
        <p:nvSpPr>
          <p:cNvPr id="137" name="Retângulo 136"/>
          <p:cNvSpPr/>
          <p:nvPr/>
        </p:nvSpPr>
        <p:spPr bwMode="auto">
          <a:xfrm>
            <a:off x="174131" y="3413464"/>
            <a:ext cx="8838184" cy="1495641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138" name="CaixaDeTexto 137"/>
          <p:cNvSpPr txBox="1"/>
          <p:nvPr/>
        </p:nvSpPr>
        <p:spPr>
          <a:xfrm>
            <a:off x="7804946" y="3964740"/>
            <a:ext cx="929100" cy="315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2">
                    <a:lumMod val="50000"/>
                  </a:schemeClr>
                </a:solidFill>
              </a:rPr>
              <a:t>ETAPA B</a:t>
            </a:r>
          </a:p>
        </p:txBody>
      </p:sp>
      <p:sp>
        <p:nvSpPr>
          <p:cNvPr id="140" name="CaixaDeTexto 139"/>
          <p:cNvSpPr txBox="1"/>
          <p:nvPr/>
        </p:nvSpPr>
        <p:spPr>
          <a:xfrm>
            <a:off x="7793405" y="5706039"/>
            <a:ext cx="940322" cy="315599"/>
          </a:xfrm>
          <a:prstGeom prst="rect">
            <a:avLst/>
          </a:prstGeom>
          <a:solidFill>
            <a:srgbClr val="FFD5D5"/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rgbClr val="C00000"/>
                </a:solidFill>
              </a:rPr>
              <a:t>ETAPA C</a:t>
            </a:r>
          </a:p>
        </p:txBody>
      </p:sp>
    </p:spTree>
    <p:extLst>
      <p:ext uri="{BB962C8B-B14F-4D97-AF65-F5344CB8AC3E}">
        <p14:creationId xmlns:p14="http://schemas.microsoft.com/office/powerpoint/2010/main" val="1445121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B692EF-6D4B-42C9-83D6-AA0D1B76E2DC}" type="slidenum">
              <a:rPr lang="en-US" smtClean="0"/>
              <a:pPr/>
              <a:t>31</a:t>
            </a:fld>
            <a:endParaRPr lang="en-US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305816" y="729985"/>
          <a:ext cx="8271174" cy="4013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50"/>
                <a:gridCol w="3482599"/>
                <a:gridCol w="1044780"/>
                <a:gridCol w="957715"/>
                <a:gridCol w="957715"/>
                <a:gridCol w="957715"/>
              </a:tblGrid>
              <a:tr h="608064"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Etapa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Detalhe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Índice</a:t>
                      </a:r>
                      <a:r>
                        <a:rPr lang="pt-BR" sz="1600" baseline="0" dirty="0" smtClean="0"/>
                        <a:t> / Juro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baseline="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taú </a:t>
                      </a:r>
                    </a:p>
                    <a:p>
                      <a:pPr algn="ctr"/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 </a:t>
                      </a:r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Itaú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</a:tr>
              <a:tr h="448371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A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paga ato diretamente</a:t>
                      </a:r>
                      <a:r>
                        <a:rPr lang="pt-BR" sz="1500" baseline="0" dirty="0" smtClean="0"/>
                        <a:t> a Cyrela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ssina contrato</a:t>
                      </a:r>
                      <a:r>
                        <a:rPr lang="pt-BR" sz="1500" baseline="0" dirty="0" smtClean="0"/>
                        <a:t> com o </a:t>
                      </a:r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dirty="0" smtClean="0"/>
                        <a:t> que paga o valor equivalente</a:t>
                      </a:r>
                      <a:r>
                        <a:rPr lang="pt-BR" sz="1500" baseline="0" dirty="0" smtClean="0"/>
                        <a:t> ao terreno pra </a:t>
                      </a:r>
                      <a:r>
                        <a:rPr lang="pt-BR" sz="1500" baseline="0" dirty="0" err="1" smtClean="0"/>
                        <a:t>Cyela</a:t>
                      </a:r>
                      <a:r>
                        <a:rPr lang="pt-BR" sz="1500" baseline="0" dirty="0" smtClean="0"/>
                        <a:t>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amortiza o valor do Terreno ao banco. Prazo de pagamento é o período de obra.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8,8% + TR</a:t>
                      </a:r>
                    </a:p>
                    <a:p>
                      <a:pPr algn="ctr"/>
                      <a:r>
                        <a:rPr lang="pt-BR" sz="1500" dirty="0" smtClean="0"/>
                        <a:t>(</a:t>
                      </a:r>
                      <a:r>
                        <a:rPr lang="pt-BR" sz="1500" dirty="0" err="1" smtClean="0"/>
                        <a:t>Price</a:t>
                      </a:r>
                      <a:r>
                        <a:rPr lang="pt-BR" sz="1500" dirty="0" smtClean="0"/>
                        <a:t>)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52786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paga o saldo residual à Cyrela na emissão do habite-se ou na quitação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mortiza o saldo</a:t>
                      </a:r>
                      <a:r>
                        <a:rPr lang="pt-BR" sz="1500" baseline="0" dirty="0" smtClean="0"/>
                        <a:t> residual, prazo de pagamento é o contratado (até 360 meses)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8,8% + TR</a:t>
                      </a:r>
                    </a:p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(SAC)</a:t>
                      </a:r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94961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Cyrela - PCV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558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PCV com a Cyrela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aga o valor da entrada, geralmente somente o valor da comissão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ntrato prevê repasse imediato para o Itaú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yrela monta pasta de repasse do cliente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dois contratos de financiamento com o Itaú: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ao terreno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à obr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erá recolhido o ITBI e o registro do imóvel, aproximadamente 3% do valor do imóvel. 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1703739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Terreno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85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o terreno com o cliente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Não há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</a:t>
            </a:r>
            <a:r>
              <a:rPr lang="pt-BR" sz="1935" dirty="0" err="1"/>
              <a:t>Price</a:t>
            </a: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Período de Obra (24 a 40 meses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20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80% (20</a:t>
            </a:r>
            <a:r>
              <a:rPr lang="pt-BR" sz="1693" dirty="0"/>
              <a:t>% </a:t>
            </a:r>
            <a:r>
              <a:rPr lang="pt-BR" sz="1935" dirty="0"/>
              <a:t>/ 25</a:t>
            </a:r>
            <a:r>
              <a:rPr lang="pt-BR" sz="1693" dirty="0"/>
              <a:t>% </a:t>
            </a:r>
            <a:r>
              <a:rPr lang="pt-BR" sz="1935" dirty="0"/>
              <a:t>= 8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Sim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1956018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Obra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5154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a obra, será assinado no lançamento do empreendimento. Durante a obra o saldo do contrato é corrigido a INCC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Período de Obra, saldo corrigindo a INCC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SAC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até 360 meses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7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25% do valor do imóvel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75% (75</a:t>
            </a:r>
            <a:r>
              <a:rPr lang="pt-BR" sz="1693" dirty="0"/>
              <a:t>% </a:t>
            </a:r>
            <a:r>
              <a:rPr lang="pt-BR" sz="1935" dirty="0"/>
              <a:t>/ 100</a:t>
            </a:r>
            <a:r>
              <a:rPr lang="pt-BR" sz="1693" dirty="0"/>
              <a:t>% </a:t>
            </a:r>
            <a:r>
              <a:rPr lang="pt-BR" sz="1935" dirty="0"/>
              <a:t>= 10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Nã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2757650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 dirty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16632"/>
            <a:ext cx="7397750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Pauta</a:t>
            </a:r>
            <a:r>
              <a:rPr lang="en-US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 dirty="0">
                <a:sym typeface="Arial" charset="0"/>
              </a:rPr>
              <a:t>  </a:t>
            </a:r>
            <a:endParaRPr lang="en-US" b="1" dirty="0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512" y="764704"/>
            <a:ext cx="8759825" cy="3465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Atualizações gerais – 9h às 9:30h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rojetos</a:t>
            </a:r>
            <a:r>
              <a:rPr lang="pt-BR" sz="1700" b="1" dirty="0">
                <a:latin typeface="BlissL" panose="02000506030000020004" pitchFamily="2" charset="0"/>
              </a:rPr>
              <a:t>, ações – das 9:30h às 10:30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err="1" smtClean="0">
                <a:latin typeface="BlissL" panose="02000506030000020004" pitchFamily="2" charset="0"/>
              </a:rPr>
              <a:t>Distratos</a:t>
            </a:r>
            <a:r>
              <a:rPr lang="pt-BR" sz="1700" b="1" dirty="0">
                <a:latin typeface="BlissL" panose="02000506030000020004" pitchFamily="2" charset="0"/>
              </a:rPr>
              <a:t>, Modelo de Negócio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Modelo </a:t>
            </a:r>
            <a:r>
              <a:rPr lang="pt-BR" sz="1700" b="1" dirty="0">
                <a:latin typeface="BlissL" panose="02000506030000020004" pitchFamily="2" charset="0"/>
              </a:rPr>
              <a:t>de Vendas - - 9:55h Corretores Associados e seu impact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artilha </a:t>
            </a:r>
            <a:r>
              <a:rPr lang="pt-BR" sz="1700" b="1" dirty="0">
                <a:latin typeface="BlissL" panose="02000506030000020004" pitchFamily="2" charset="0"/>
              </a:rPr>
              <a:t>de Esclarecimentos e outras açõ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erspectivas</a:t>
            </a:r>
            <a:r>
              <a:rPr lang="pt-BR" sz="1700" b="1" dirty="0">
                <a:latin typeface="BlissL" panose="02000506030000020004" pitchFamily="2" charset="0"/>
              </a:rPr>
              <a:t>, conjuntura, dados mercado e FIPE– 10:30h às </a:t>
            </a:r>
            <a:r>
              <a:rPr lang="pt-BR" sz="1700" b="1" dirty="0" smtClean="0">
                <a:latin typeface="BlissL" panose="02000506030000020004" pitchFamily="2" charset="0"/>
              </a:rPr>
              <a:t>11h</a:t>
            </a:r>
            <a:endParaRPr lang="pt-BR" sz="1700" b="1" dirty="0">
              <a:latin typeface="BlissL" panose="02000506030000020004" pitchFamily="2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Reunião RJ</a:t>
            </a:r>
          </a:p>
        </p:txBody>
      </p:sp>
    </p:spTree>
    <p:extLst>
      <p:ext uri="{BB962C8B-B14F-4D97-AF65-F5344CB8AC3E}">
        <p14:creationId xmlns:p14="http://schemas.microsoft.com/office/powerpoint/2010/main" val="24109110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1887692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tualizações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000" smtClean="0">
                <a:latin typeface="BlissL" panose="02000506030000020004" pitchFamily="2" charset="0"/>
              </a:rPr>
              <a:t>COFECI</a:t>
            </a:r>
            <a:r>
              <a:rPr lang="pt-BR" sz="2000" dirty="0">
                <a:latin typeface="BlissL" panose="02000506030000020004" pitchFamily="2" charset="0"/>
              </a:rPr>
              <a:t>, </a:t>
            </a:r>
            <a:r>
              <a:rPr lang="pt-BR" sz="2000" dirty="0" smtClean="0">
                <a:latin typeface="BlissL" panose="02000506030000020004" pitchFamily="2" charset="0"/>
              </a:rPr>
              <a:t>Registros, </a:t>
            </a:r>
            <a:r>
              <a:rPr lang="pt-BR" sz="2000" dirty="0">
                <a:latin typeface="BlissL" panose="02000506030000020004" pitchFamily="2" charset="0"/>
              </a:rPr>
              <a:t>Prazos de Garantia Caixa, </a:t>
            </a:r>
            <a:r>
              <a:rPr lang="pt-BR" sz="2000" dirty="0" smtClean="0">
                <a:latin typeface="BlissL" panose="02000506030000020004" pitchFamily="2" charset="0"/>
              </a:rPr>
              <a:t>Questões do Trabalho</a:t>
            </a:r>
            <a:endParaRPr lang="pt-BR" sz="2000" dirty="0">
              <a:latin typeface="BlissL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7843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323528" y="692696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Fechamento </a:t>
            </a:r>
            <a:r>
              <a:rPr lang="pt-BR" sz="1700" dirty="0" smtClean="0">
                <a:latin typeface="BlissL" panose="02000506030000020004" pitchFamily="2" charset="0"/>
              </a:rPr>
              <a:t>– assessoria Cause – R$ 150.000 + pesquisa (~R$ 100.000)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Seminário </a:t>
            </a:r>
            <a:r>
              <a:rPr lang="pt-BR" sz="1700" b="1" dirty="0">
                <a:latin typeface="BlissL" panose="02000506030000020004" pitchFamily="2" charset="0"/>
              </a:rPr>
              <a:t>Temático </a:t>
            </a:r>
            <a:r>
              <a:rPr lang="pt-BR" sz="1700" b="1" dirty="0" smtClean="0">
                <a:latin typeface="BlissL" panose="02000506030000020004" pitchFamily="2" charset="0"/>
              </a:rPr>
              <a:t>ABRAINC- Arq. Mackenzie </a:t>
            </a:r>
            <a:r>
              <a:rPr lang="pt-BR" sz="1700" dirty="0" smtClean="0">
                <a:latin typeface="BlissL" panose="02000506030000020004" pitchFamily="2" charset="0"/>
              </a:rPr>
              <a:t>-  Walter </a:t>
            </a:r>
            <a:r>
              <a:rPr lang="pt-BR" sz="1700" dirty="0" err="1" smtClean="0">
                <a:latin typeface="BlissL" panose="02000506030000020004" pitchFamily="2" charset="0"/>
              </a:rPr>
              <a:t>Caldana</a:t>
            </a:r>
            <a:r>
              <a:rPr lang="pt-BR" sz="1700" dirty="0" smtClean="0">
                <a:latin typeface="BlissL" panose="02000506030000020004" pitchFamily="2" charset="0"/>
              </a:rPr>
              <a:t>, Eduardo </a:t>
            </a:r>
            <a:r>
              <a:rPr lang="pt-BR" sz="1700" dirty="0" err="1" smtClean="0">
                <a:latin typeface="BlissL" panose="02000506030000020004" pitchFamily="2" charset="0"/>
              </a:rPr>
              <a:t>Nardelli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 Incorporação e a produção da cidade </a:t>
            </a:r>
            <a:r>
              <a:rPr lang="pt-BR" sz="1700" dirty="0" smtClean="0">
                <a:latin typeface="BlissL" panose="02000506030000020004" pitchFamily="2" charset="0"/>
              </a:rPr>
              <a:t>– 20/3, até 30 pesso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emissas p/ viabilização de empreendimen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oas práticas e soluções – empreendedores, arquite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 arcabouço legal atende os requisitos de produtividade e qualidade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mo aperfeiçoar inclusão das </a:t>
            </a:r>
            <a:r>
              <a:rPr lang="pt-BR" sz="1700" dirty="0">
                <a:latin typeface="BlissL" panose="02000506030000020004" pitchFamily="2" charset="0"/>
              </a:rPr>
              <a:t>questões urbanas na </a:t>
            </a:r>
            <a:r>
              <a:rPr lang="pt-BR" sz="1700" dirty="0" smtClean="0">
                <a:latin typeface="BlissL" panose="02000506030000020004" pitchFamily="2" charset="0"/>
              </a:rPr>
              <a:t>produção -  cas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lenco de questões a serem aprofundadas e </a:t>
            </a:r>
            <a:r>
              <a:rPr lang="pt-BR" sz="1700" dirty="0" err="1" smtClean="0">
                <a:latin typeface="BlissL" panose="02000506030000020004" pitchFamily="2" charset="0"/>
              </a:rPr>
              <a:t>publicizadas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presentações Tecnisa e Odebre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presentações urbanistas, ASBEA e professo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ase para agen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Outras </a:t>
            </a:r>
            <a:r>
              <a:rPr lang="pt-BR" sz="1700" b="1" dirty="0" smtClean="0">
                <a:latin typeface="BlissL" panose="02000506030000020004" pitchFamily="2" charset="0"/>
              </a:rPr>
              <a:t>propost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presentações para alunos – </a:t>
            </a:r>
            <a:r>
              <a:rPr lang="pt-BR" sz="1700" dirty="0" smtClean="0">
                <a:latin typeface="BlissL" panose="02000506030000020004" pitchFamily="2" charset="0"/>
              </a:rPr>
              <a:t>incorporação na prátic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remiação </a:t>
            </a:r>
            <a:r>
              <a:rPr lang="pt-BR" sz="1700" dirty="0">
                <a:latin typeface="BlissL" panose="02000506030000020004" pitchFamily="2" charset="0"/>
              </a:rPr>
              <a:t>– trabalho de formatura sobre Incorporaç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80528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/>
              <a:t>I</a:t>
            </a:r>
            <a:r>
              <a:rPr lang="pt-BR" dirty="0" smtClean="0"/>
              <a:t>magem </a:t>
            </a:r>
            <a:r>
              <a:rPr lang="pt-BR" dirty="0"/>
              <a:t>do </a:t>
            </a:r>
            <a:r>
              <a:rPr lang="pt-BR" dirty="0" smtClean="0"/>
              <a:t>Setor – </a:t>
            </a:r>
            <a:r>
              <a:rPr lang="pt-BR" smtClean="0"/>
              <a:t>Cause, Academia </a:t>
            </a:r>
            <a:endParaRPr lang="en-US" dirty="0">
              <a:sym typeface="Arial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Line 1"/>
          <p:cNvSpPr>
            <a:spLocks noChangeShapeType="1"/>
          </p:cNvSpPr>
          <p:nvPr/>
        </p:nvSpPr>
        <p:spPr bwMode="auto">
          <a:xfrm flipV="1">
            <a:off x="179512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/>
          </a:p>
        </p:txBody>
      </p:sp>
      <p:sp>
        <p:nvSpPr>
          <p:cNvPr id="9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Jurídico</a:t>
            </a: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  <a:endParaRPr lang="en-US" sz="105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02693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555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Registro </a:t>
            </a:r>
            <a:r>
              <a:rPr lang="pt-BR" sz="1700" b="1" dirty="0">
                <a:latin typeface="BlissL" panose="02000506030000020004" pitchFamily="2" charset="0"/>
              </a:rPr>
              <a:t>Eletrônico 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fluxo eletrônico de extrato (e não contrato) para Registro</a:t>
            </a:r>
            <a:r>
              <a:rPr lang="pt-BR" sz="1700" b="1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RISP: </a:t>
            </a:r>
            <a:r>
              <a:rPr lang="pt-BR" sz="1700" dirty="0">
                <a:latin typeface="BlissL" panose="02000506030000020004" pitchFamily="2" charset="0"/>
              </a:rPr>
              <a:t>Registro Eletrônico pronto em SP, ES, PE, RO, MS, MT, PA, SC e RS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ssinaturas</a:t>
            </a:r>
            <a:r>
              <a:rPr lang="pt-BR" sz="1700" dirty="0">
                <a:latin typeface="BlissL" panose="02000506030000020004" pitchFamily="2" charset="0"/>
              </a:rPr>
              <a:t>, guarda de documentos, quadro-resumo eletrônico regulamentado, inclusão de Consórcio e CCI ok. Bancos e cartórios: não há obstáculos – falta tratamento de exceções, que só com o início de implementação poderão ter seu tratamento finalizado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ETIP </a:t>
            </a:r>
            <a:r>
              <a:rPr lang="pt-BR" sz="1700" dirty="0">
                <a:latin typeface="BlissL" panose="02000506030000020004" pitchFamily="2" charset="0"/>
              </a:rPr>
              <a:t>com ARISP e ABECIP – proposta de fluxo/processo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º </a:t>
            </a:r>
            <a:r>
              <a:rPr lang="pt-BR" sz="1700" dirty="0">
                <a:latin typeface="BlissL" panose="02000506030000020004" pitchFamily="2" charset="0"/>
              </a:rPr>
              <a:t>registo já obtido pela Caixa - 4/dezembro - 1º RI de S. Paul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ensageria </a:t>
            </a:r>
            <a:r>
              <a:rPr lang="pt-BR" sz="1700" dirty="0">
                <a:latin typeface="BlissL" panose="02000506030000020004" pitchFamily="2" charset="0"/>
              </a:rPr>
              <a:t>– encaminhamento adiantado com ABECIP, Caixa e ARISP com CET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ilotos </a:t>
            </a:r>
            <a:r>
              <a:rPr lang="pt-BR" sz="1700" dirty="0">
                <a:latin typeface="BlissL" panose="02000506030000020004" pitchFamily="2" charset="0"/>
              </a:rPr>
              <a:t>– 8º RI, 17º RI SP – PDG apresentará </a:t>
            </a:r>
            <a:r>
              <a:rPr lang="pt-BR" sz="1700" dirty="0" smtClean="0">
                <a:latin typeface="BlissL" panose="02000506030000020004" pitchFamily="2" charset="0"/>
              </a:rPr>
              <a:t>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oposta de RE no Feirão da Caixa de S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artórios RJ com ADEMI – conversa com 9º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oncentração </a:t>
            </a:r>
            <a:r>
              <a:rPr lang="pt-BR" sz="1700" b="1" dirty="0">
                <a:latin typeface="BlissL" panose="02000506030000020004" pitchFamily="2" charset="0"/>
              </a:rPr>
              <a:t>na Matrícula </a:t>
            </a:r>
            <a:r>
              <a:rPr lang="pt-BR" sz="1700" dirty="0">
                <a:latin typeface="BlissL" panose="02000506030000020004" pitchFamily="2" charset="0"/>
              </a:rPr>
              <a:t>(Lei 13.097, de 15/1/2014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ção </a:t>
            </a:r>
            <a:r>
              <a:rPr lang="pt-BR" sz="1700" dirty="0">
                <a:latin typeface="BlissL" panose="02000506030000020004" pitchFamily="2" charset="0"/>
              </a:rPr>
              <a:t>propositiva, com embasamento doutrinário, de forma a ampliar sua efetiva aceitação pelo </a:t>
            </a:r>
            <a:r>
              <a:rPr lang="pt-BR" sz="1700" dirty="0" smtClean="0">
                <a:latin typeface="BlissL" panose="02000506030000020004" pitchFamily="2" charset="0"/>
              </a:rPr>
              <a:t>Judiciário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smtClean="0">
                <a:latin typeface="BlissL" panose="02000506030000020004" pitchFamily="2" charset="0"/>
              </a:rPr>
              <a:t>– conversa com </a:t>
            </a:r>
            <a:r>
              <a:rPr lang="pt-BR" sz="1700" dirty="0" err="1" smtClean="0">
                <a:latin typeface="BlissL" panose="02000506030000020004" pitchFamily="2" charset="0"/>
              </a:rPr>
              <a:t>Melhim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 err="1" smtClean="0">
                <a:latin typeface="BlissL" panose="02000506030000020004" pitchFamily="2" charset="0"/>
              </a:rPr>
              <a:t>Chaloub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altLang="pt-BR" sz="1700" b="1" dirty="0" smtClean="0">
              <a:latin typeface="BlissL" panose="02000506030000020004" pitchFamily="2" charset="0"/>
            </a:endParaRPr>
          </a:p>
          <a:p>
            <a:r>
              <a:rPr lang="pt-BR" altLang="pt-BR" sz="1700" b="1" dirty="0" smtClean="0">
                <a:latin typeface="BlissL" panose="02000506030000020004" pitchFamily="2" charset="0"/>
              </a:rPr>
              <a:t>Acessibilidade </a:t>
            </a:r>
            <a:r>
              <a:rPr lang="pt-BR" altLang="pt-BR" sz="1700" b="1" dirty="0">
                <a:latin typeface="BlissL" panose="02000506030000020004" pitchFamily="2" charset="0"/>
              </a:rPr>
              <a:t>– </a:t>
            </a:r>
            <a:r>
              <a:rPr lang="pt-BR" altLang="pt-BR" sz="1700" dirty="0">
                <a:latin typeface="BlissL" panose="02000506030000020004" pitchFamily="2" charset="0"/>
              </a:rPr>
              <a:t>PL 7699-2006 – aprovada na Câmara, remetida ao Sen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sz="1700" dirty="0">
                <a:latin typeface="BlissL" panose="02000506030000020004" pitchFamily="2" charset="0"/>
              </a:rPr>
              <a:t>Relator  (indicação)– Senador Romário (RJ) - comentários - Mara </a:t>
            </a:r>
            <a:r>
              <a:rPr lang="pt-BR" altLang="pt-BR" sz="1700" dirty="0" err="1">
                <a:latin typeface="BlissL" panose="02000506030000020004" pitchFamily="2" charset="0"/>
              </a:rPr>
              <a:t>Gabrilli</a:t>
            </a:r>
            <a:endParaRPr lang="pt-BR" altLang="pt-BR" sz="1700" dirty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tualizações/ Destaques – ABRAINC </a:t>
            </a:r>
            <a:endParaRPr lang="en-US" sz="2400" dirty="0">
              <a:sym typeface="Arial" pitchFamily="34" charset="0"/>
            </a:endParaRPr>
          </a:p>
        </p:txBody>
      </p:sp>
      <p:sp>
        <p:nvSpPr>
          <p:cNvPr id="6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4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3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16718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35098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l" defTabSz="914145"/>
            <a:r>
              <a:rPr lang="pt-BR" sz="2400" kern="12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Atualizações/destaques</a:t>
            </a:r>
            <a:endParaRPr lang="en-US" sz="2400" kern="12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23555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3077" name="Retângulo 7"/>
          <p:cNvSpPr>
            <a:spLocks noChangeArrowheads="1"/>
          </p:cNvSpPr>
          <p:nvPr/>
        </p:nvSpPr>
        <p:spPr bwMode="auto">
          <a:xfrm>
            <a:off x="179512" y="692696"/>
            <a:ext cx="9145016" cy="606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>
              <a:defRPr/>
            </a:pPr>
            <a:r>
              <a:rPr lang="pt-BR" sz="1700" b="1" dirty="0" smtClean="0">
                <a:latin typeface="BlissL" panose="02000506030000020004" pitchFamily="2" charset="0"/>
              </a:rPr>
              <a:t>COFECI</a:t>
            </a:r>
          </a:p>
          <a:p>
            <a:pPr>
              <a:defRPr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dirty="0" smtClean="0">
                <a:latin typeface="BlissL" panose="02000506030000020004" pitchFamily="2" charset="0"/>
              </a:rPr>
              <a:t>Resolução </a:t>
            </a:r>
            <a:r>
              <a:rPr lang="pt-BR" sz="1700" dirty="0" err="1" smtClean="0">
                <a:latin typeface="BlissL" panose="02000506030000020004" pitchFamily="2" charset="0"/>
              </a:rPr>
              <a:t>Cofeci</a:t>
            </a:r>
            <a:r>
              <a:rPr lang="pt-BR" sz="1700" dirty="0" smtClean="0">
                <a:latin typeface="BlissL" panose="02000506030000020004" pitchFamily="2" charset="0"/>
              </a:rPr>
              <a:t> 1.168/2.010 – regulação e fiscalização de corretores, incorporadores, imobiliárias, loteadores a cargo do </a:t>
            </a:r>
            <a:r>
              <a:rPr lang="pt-BR" sz="1700" dirty="0" err="1" smtClean="0">
                <a:latin typeface="BlissL" panose="02000506030000020004" pitchFamily="2" charset="0"/>
              </a:rPr>
              <a:t>Cofeci</a:t>
            </a:r>
            <a:r>
              <a:rPr lang="pt-BR" sz="1700" dirty="0" smtClean="0">
                <a:latin typeface="BlissL" panose="02000506030000020004" pitchFamily="2" charset="0"/>
              </a:rPr>
              <a:t> e dos CRECI; regula </a:t>
            </a:r>
            <a:r>
              <a:rPr lang="pt-BR" sz="1700" dirty="0">
                <a:latin typeface="BlissL" panose="02000506030000020004" pitchFamily="2" charset="0"/>
              </a:rPr>
              <a:t>atividade de compra e venda de </a:t>
            </a:r>
            <a:r>
              <a:rPr lang="pt-BR" sz="1700" dirty="0" smtClean="0">
                <a:latin typeface="BlissL" panose="02000506030000020004" pitchFamily="2" charset="0"/>
              </a:rPr>
              <a:t>imóvel (e não profissional)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dirty="0" smtClean="0">
                <a:latin typeface="BlissL" panose="02000506030000020004" pitchFamily="2" charset="0"/>
              </a:rPr>
              <a:t>Na prática: fiscalização </a:t>
            </a:r>
            <a:r>
              <a:rPr lang="pt-BR" sz="1700" dirty="0">
                <a:latin typeface="BlissL" panose="02000506030000020004" pitchFamily="2" charset="0"/>
              </a:rPr>
              <a:t>das incorporadoras pelo </a:t>
            </a:r>
            <a:r>
              <a:rPr lang="pt-BR" sz="1700" dirty="0" smtClean="0">
                <a:latin typeface="BlissL" panose="02000506030000020004" pitchFamily="2" charset="0"/>
              </a:rPr>
              <a:t>COFECI; alternativas judiciais/políticas em caráter nacional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BR" sz="1700" b="1" dirty="0" smtClean="0">
                <a:latin typeface="BlissL" panose="02000506030000020004" pitchFamily="2" charset="0"/>
              </a:rPr>
              <a:t>Res. COFECI 1331, de 9/7/2014, publicada no DOU em 11/11/2014, 90 dias p/ validade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Defesa Judicial –CBIC/Secovi, com ABRAINC – </a:t>
            </a:r>
            <a:r>
              <a:rPr lang="pt-BR" sz="1700" dirty="0" smtClean="0">
                <a:latin typeface="BlissL" panose="02000506030000020004" pitchFamily="2" charset="0"/>
              </a:rPr>
              <a:t>esc</a:t>
            </a:r>
            <a:r>
              <a:rPr lang="pt-BR" sz="1700" b="1" dirty="0" smtClean="0">
                <a:latin typeface="BlissL" panose="02000506030000020004" pitchFamily="2" charset="0"/>
              </a:rPr>
              <a:t>. </a:t>
            </a:r>
            <a:r>
              <a:rPr lang="pt-BR" sz="1700" dirty="0" smtClean="0">
                <a:latin typeface="BlissL" panose="02000506030000020004" pitchFamily="2" charset="0"/>
              </a:rPr>
              <a:t>Luiz Eduardo Sá Roriz (D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ssembleias com associados de entidades participan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ortaria </a:t>
            </a:r>
            <a:r>
              <a:rPr lang="pt-BR" sz="1700" b="1" dirty="0">
                <a:latin typeface="BlissL" panose="02000506030000020004" pitchFamily="2" charset="0"/>
              </a:rPr>
              <a:t>5107/14 – </a:t>
            </a:r>
            <a:r>
              <a:rPr lang="pt-BR" sz="1700" b="1" dirty="0" err="1">
                <a:latin typeface="BlissL" panose="02000506030000020004" pitchFamily="2" charset="0"/>
              </a:rPr>
              <a:t>Creci</a:t>
            </a:r>
            <a:r>
              <a:rPr lang="pt-BR" sz="1700" b="1" dirty="0">
                <a:latin typeface="BlissL" panose="02000506030000020004" pitchFamily="2" charset="0"/>
              </a:rPr>
              <a:t> – </a:t>
            </a:r>
            <a:r>
              <a:rPr lang="pt-BR" sz="1700" dirty="0">
                <a:latin typeface="BlissL" panose="02000506030000020004" pitchFamily="2" charset="0"/>
              </a:rPr>
              <a:t>MP e Procon chamados não se pronunciara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Ok em relação a Corretores Associad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Inadequada em relação à fiscalização e a tabela mínima de honorários- </a:t>
            </a:r>
            <a:r>
              <a:rPr lang="pt-BR" sz="1700" dirty="0" err="1" smtClean="0">
                <a:latin typeface="BlissL" panose="02000506030000020004" pitchFamily="2" charset="0"/>
              </a:rPr>
              <a:t>Considerandos</a:t>
            </a:r>
            <a:r>
              <a:rPr lang="pt-BR" sz="1700" dirty="0" smtClean="0">
                <a:latin typeface="BlissL" panose="02000506030000020004" pitchFamily="2" charset="0"/>
              </a:rPr>
              <a:t>, </a:t>
            </a:r>
            <a:r>
              <a:rPr lang="pt-BR" sz="1700" dirty="0" err="1" smtClean="0">
                <a:latin typeface="BlissL" panose="02000506030000020004" pitchFamily="2" charset="0"/>
              </a:rPr>
              <a:t>Art</a:t>
            </a:r>
            <a:r>
              <a:rPr lang="pt-BR" sz="1700" dirty="0" smtClean="0">
                <a:latin typeface="BlissL" panose="02000506030000020004" pitchFamily="2" charset="0"/>
              </a:rPr>
              <a:t> 1º e 2º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omitê Financeiro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Funding</a:t>
            </a:r>
            <a:r>
              <a:rPr lang="pt-BR" sz="1700" dirty="0" smtClean="0">
                <a:latin typeface="BlissL" panose="02000506030000020004" pitchFamily="2" charset="0"/>
              </a:rPr>
              <a:t> – exigibilidade; alterações no SFH e no </a:t>
            </a:r>
            <a:r>
              <a:rPr lang="pt-BR" sz="1700" dirty="0" smtClean="0">
                <a:latin typeface="BlissL" panose="02000506030000020004" pitchFamily="2" charset="0"/>
              </a:rPr>
              <a:t>FGTS; exigibilidade – CEF e Santander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RFS- </a:t>
            </a:r>
            <a:r>
              <a:rPr lang="pt-BR" sz="1700" dirty="0">
                <a:latin typeface="BlissL" panose="02000506030000020004" pitchFamily="2" charset="0"/>
              </a:rPr>
              <a:t>POC – mudança na contabilização – reconhecimento nas chaves. </a:t>
            </a:r>
            <a:r>
              <a:rPr lang="pt-BR" sz="1700" dirty="0" smtClean="0">
                <a:latin typeface="BlissL" panose="02000506030000020004" pitchFamily="2" charset="0"/>
              </a:rPr>
              <a:t>Comitê </a:t>
            </a:r>
            <a:r>
              <a:rPr lang="pt-BR" sz="1700" dirty="0">
                <a:latin typeface="BlissL" panose="02000506030000020004" pitchFamily="2" charset="0"/>
              </a:rPr>
              <a:t>Financeiro e na próxima reunião de Diretoria</a:t>
            </a:r>
          </a:p>
          <a:p>
            <a:r>
              <a:rPr lang="pt-BR" sz="1600" b="1" dirty="0"/>
              <a:t> </a:t>
            </a:r>
            <a:endParaRPr lang="pt-BR" sz="1600" dirty="0"/>
          </a:p>
          <a:p>
            <a:endParaRPr lang="pt-BR" sz="1700" dirty="0">
              <a:latin typeface="BlissL" panose="02000506030000020004" pitchFamily="2" charset="0"/>
            </a:endParaRPr>
          </a:p>
          <a:p>
            <a:endParaRPr lang="pt-BR" altLang="pt-BR" sz="1700" dirty="0">
              <a:latin typeface="BlissL" panose="02000506030000020004" pitchFamily="2" charset="0"/>
            </a:endParaRPr>
          </a:p>
          <a:p>
            <a:endParaRPr lang="pt-BR" altLang="pt-BR" sz="1700" b="1" dirty="0" smtClean="0">
              <a:latin typeface="BlissL" panose="02000506030000020004" pitchFamily="2" charset="0"/>
            </a:endParaRPr>
          </a:p>
          <a:p>
            <a:endParaRPr lang="pt-BR" altLang="pt-BR" sz="1700" b="1" dirty="0" smtClean="0">
              <a:latin typeface="BlissL" panose="02000506030000020004" pitchFamily="2" charset="0"/>
            </a:endParaRPr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9512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/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4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0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29452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35098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l" defTabSz="914145"/>
            <a:r>
              <a:rPr lang="pt-BR" sz="2400" kern="12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Tabela de Responsabilização CEF</a:t>
            </a:r>
            <a:endParaRPr lang="en-US" sz="2400" kern="12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3077" name="Retângulo 7"/>
          <p:cNvSpPr>
            <a:spLocks noChangeArrowheads="1"/>
          </p:cNvSpPr>
          <p:nvPr/>
        </p:nvSpPr>
        <p:spPr bwMode="auto">
          <a:xfrm>
            <a:off x="179512" y="692696"/>
            <a:ext cx="8764588" cy="5543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r>
              <a:rPr lang="pt-BR" sz="1700" b="1" u="sng" dirty="0" smtClean="0">
                <a:latin typeface="BlissL" panose="02000506030000020004"/>
              </a:rPr>
              <a:t>1 - Vícios </a:t>
            </a:r>
            <a:r>
              <a:rPr lang="pt-BR" sz="1700" b="1" u="sng" dirty="0">
                <a:latin typeface="BlissL" panose="02000506030000020004"/>
              </a:rPr>
              <a:t>aparentes </a:t>
            </a:r>
            <a:r>
              <a:rPr lang="pt-BR" sz="1700" b="1" dirty="0">
                <a:latin typeface="BlissL" panose="02000506030000020004"/>
              </a:rPr>
              <a:t>-</a:t>
            </a:r>
            <a:r>
              <a:rPr lang="pt-BR" sz="1700" dirty="0">
                <a:latin typeface="BlissL" panose="02000506030000020004"/>
              </a:rPr>
              <a:t> prazo de garantia de 90 dias segundo o código de defesa do consumidor - em ficha de vistoria assinada pelas partes reduzir a 7 dia</a:t>
            </a:r>
          </a:p>
          <a:p>
            <a:endParaRPr lang="pt-BR" sz="1700" b="1" dirty="0" smtClean="0">
              <a:latin typeface="BlissL" panose="02000506030000020004"/>
            </a:endParaRPr>
          </a:p>
          <a:p>
            <a:r>
              <a:rPr lang="pt-BR" sz="1700" b="1" u="sng" dirty="0" smtClean="0">
                <a:latin typeface="BlissL" panose="02000506030000020004"/>
              </a:rPr>
              <a:t>2 - Vícios Redibitórios = vícios ocultos</a:t>
            </a:r>
            <a:r>
              <a:rPr lang="pt-BR" sz="1700" u="sng" dirty="0" smtClean="0">
                <a:latin typeface="BlissL" panose="02000506030000020004"/>
              </a:rPr>
              <a:t> </a:t>
            </a:r>
            <a:r>
              <a:rPr lang="pt-BR" sz="1700" dirty="0" smtClean="0">
                <a:latin typeface="BlissL" panose="02000506030000020004"/>
              </a:rPr>
              <a:t>(desconhecidos </a:t>
            </a:r>
            <a:r>
              <a:rPr lang="pt-BR" sz="1700" dirty="0">
                <a:latin typeface="BlissL" panose="02000506030000020004"/>
              </a:rPr>
              <a:t>no momento da compra/ v</a:t>
            </a:r>
            <a:r>
              <a:rPr lang="pt-BR" sz="1700" dirty="0" smtClean="0">
                <a:latin typeface="BlissL" panose="02000506030000020004"/>
              </a:rPr>
              <a:t>istoria). Apenas </a:t>
            </a:r>
            <a:r>
              <a:rPr lang="pt-BR" sz="1700" dirty="0">
                <a:latin typeface="BlissL" panose="02000506030000020004"/>
              </a:rPr>
              <a:t>para estes vícios, pode-se exigir o prazo de 1 </a:t>
            </a:r>
            <a:r>
              <a:rPr lang="pt-BR" sz="1700" dirty="0" smtClean="0">
                <a:latin typeface="BlissL" panose="02000506030000020004"/>
              </a:rPr>
              <a:t>ano da Entrega Efetiv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/>
            </a:endParaRPr>
          </a:p>
          <a:p>
            <a:r>
              <a:rPr lang="pt-BR" sz="1700" b="1" dirty="0">
                <a:latin typeface="BlissL" panose="02000506030000020004"/>
              </a:rPr>
              <a:t>E</a:t>
            </a:r>
            <a:r>
              <a:rPr lang="pt-BR" sz="1700" b="1" dirty="0" smtClean="0">
                <a:latin typeface="BlissL" panose="02000506030000020004"/>
              </a:rPr>
              <a:t>ntrega efetiva </a:t>
            </a:r>
            <a:r>
              <a:rPr lang="pt-BR" sz="1700" dirty="0" smtClean="0">
                <a:latin typeface="BlissL" panose="02000506030000020004"/>
              </a:rPr>
              <a:t>(art</a:t>
            </a:r>
            <a:r>
              <a:rPr lang="pt-BR" sz="1700" dirty="0">
                <a:latin typeface="BlissL" panose="02000506030000020004"/>
              </a:rPr>
              <a:t>. 445 do código </a:t>
            </a:r>
            <a:r>
              <a:rPr lang="pt-BR" sz="1700" dirty="0" smtClean="0">
                <a:latin typeface="BlissL" panose="02000506030000020004"/>
              </a:rPr>
              <a:t>civil</a:t>
            </a:r>
            <a:r>
              <a:rPr lang="pt-BR" sz="1700" dirty="0">
                <a:latin typeface="BlissL" panose="02000506030000020004"/>
              </a:rPr>
              <a:t>) - CEF – Cha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/>
              </a:rPr>
              <a:t>Proposta em discussão: </a:t>
            </a:r>
            <a:r>
              <a:rPr lang="pt-BR" sz="1700" dirty="0">
                <a:latin typeface="BlissL" panose="02000506030000020004"/>
              </a:rPr>
              <a:t>d</a:t>
            </a:r>
            <a:r>
              <a:rPr lang="pt-BR" sz="1700" dirty="0" smtClean="0">
                <a:latin typeface="BlissL" panose="02000506030000020004"/>
              </a:rPr>
              <a:t>isponibilização de </a:t>
            </a:r>
            <a:r>
              <a:rPr lang="pt-BR" sz="1700" dirty="0">
                <a:latin typeface="BlissL" panose="02000506030000020004"/>
              </a:rPr>
              <a:t>chaves ao </a:t>
            </a:r>
            <a:r>
              <a:rPr lang="pt-BR" sz="1700" dirty="0" smtClean="0">
                <a:latin typeface="BlissL" panose="02000506030000020004"/>
              </a:rPr>
              <a:t>cliente - Assembleia </a:t>
            </a:r>
            <a:r>
              <a:rPr lang="pt-BR" sz="1700" dirty="0">
                <a:latin typeface="BlissL" panose="02000506030000020004"/>
              </a:rPr>
              <a:t>de instauração do </a:t>
            </a:r>
            <a:r>
              <a:rPr lang="pt-BR" sz="1700" dirty="0" smtClean="0">
                <a:latin typeface="BlissL" panose="02000506030000020004"/>
              </a:rPr>
              <a:t>condomínio, com notificação aos client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/>
            </a:endParaRPr>
          </a:p>
          <a:p>
            <a:r>
              <a:rPr lang="pt-BR" sz="1700" b="1" dirty="0" smtClean="0">
                <a:latin typeface="BlissL" panose="02000506030000020004"/>
              </a:rPr>
              <a:t>Unidades </a:t>
            </a:r>
            <a:r>
              <a:rPr lang="pt-BR" sz="1700" b="1" dirty="0">
                <a:latin typeface="BlissL" panose="02000506030000020004"/>
              </a:rPr>
              <a:t>não </a:t>
            </a:r>
            <a:r>
              <a:rPr lang="pt-BR" sz="1700" b="1" dirty="0" smtClean="0">
                <a:latin typeface="BlissL" panose="02000506030000020004"/>
              </a:rPr>
              <a:t>vendidas até a entrega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/>
              </a:rPr>
              <a:t>Tese 1: tudo em uso – pressão, intempéries – prazo começa com Assemble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/>
              </a:rPr>
              <a:t>Tese 2: desgastes em certos componentes (sem informaçõe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/>
              </a:rPr>
              <a:t>Após 1 ano – imóvel usado – garantias de 90 dias (CDC)</a:t>
            </a:r>
          </a:p>
          <a:p>
            <a:pPr lvl="1"/>
            <a:endParaRPr lang="pt-BR" sz="1700" dirty="0" smtClean="0">
              <a:latin typeface="BlissL" panose="02000506030000020004"/>
            </a:endParaRPr>
          </a:p>
          <a:p>
            <a:r>
              <a:rPr lang="pt-BR" sz="1700" b="1" u="sng" dirty="0" smtClean="0">
                <a:latin typeface="BlissL" panose="02000506030000020004"/>
              </a:rPr>
              <a:t>Faixa 1 - PMCMV </a:t>
            </a:r>
            <a:r>
              <a:rPr lang="pt-BR" sz="1700" b="1" dirty="0" smtClean="0">
                <a:latin typeface="BlissL" panose="02000506030000020004"/>
              </a:rPr>
              <a:t>- </a:t>
            </a:r>
            <a:r>
              <a:rPr lang="pt-BR" sz="1700" dirty="0" smtClean="0">
                <a:latin typeface="BlissL" panose="02000506030000020004"/>
              </a:rPr>
              <a:t>Entrega Efetiva -  </a:t>
            </a:r>
            <a:r>
              <a:rPr lang="pt-BR" sz="1700" dirty="0">
                <a:latin typeface="BlissL" panose="02000506030000020004"/>
              </a:rPr>
              <a:t>recebimento da obra pelo agente </a:t>
            </a:r>
            <a:r>
              <a:rPr lang="pt-BR" sz="1700" dirty="0" smtClean="0">
                <a:latin typeface="BlissL" panose="02000506030000020004"/>
              </a:rPr>
              <a:t>financeiro</a:t>
            </a:r>
          </a:p>
          <a:p>
            <a:endParaRPr lang="pt-BR" sz="1700" b="1" dirty="0">
              <a:latin typeface="BlissL" panose="02000506030000020004"/>
            </a:endParaRPr>
          </a:p>
          <a:p>
            <a:endParaRPr lang="pt-BR" sz="1700" b="1" dirty="0" smtClean="0">
              <a:latin typeface="BlissL" panose="02000506030000020004"/>
            </a:endParaRPr>
          </a:p>
          <a:p>
            <a:r>
              <a:rPr lang="pt-BR" sz="1700" dirty="0">
                <a:latin typeface="BlissL" panose="02000506030000020004"/>
              </a:rPr>
              <a:t>Início da cobrança desta tabela apenas para empreendimentos protocolados na Prefeitura a partir de 19/7/2013, conforme definido pela Norma de </a:t>
            </a:r>
            <a:r>
              <a:rPr lang="pt-BR" sz="1700" dirty="0" smtClean="0">
                <a:latin typeface="BlissL" panose="02000506030000020004"/>
              </a:rPr>
              <a:t>Desempenh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600" dirty="0" smtClean="0"/>
          </a:p>
        </p:txBody>
      </p:sp>
      <p:sp>
        <p:nvSpPr>
          <p:cNvPr id="14" name="Line 1"/>
          <p:cNvSpPr>
            <a:spLocks noChangeShapeType="1"/>
          </p:cNvSpPr>
          <p:nvPr/>
        </p:nvSpPr>
        <p:spPr bwMode="auto">
          <a:xfrm flipV="1">
            <a:off x="179512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/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5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7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446088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QeTi_Ck.vbpqwoF0Gl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6485</TotalTime>
  <Words>2887</Words>
  <Application>Microsoft Office PowerPoint</Application>
  <PresentationFormat>Apresentação na tela (4:3)</PresentationFormat>
  <Paragraphs>593</Paragraphs>
  <Slides>34</Slides>
  <Notes>2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4</vt:i4>
      </vt:variant>
    </vt:vector>
  </HeadingPairs>
  <TitlesOfParts>
    <vt:vector size="43" baseType="lpstr">
      <vt:lpstr>Arial</vt:lpstr>
      <vt:lpstr>BlissEB</vt:lpstr>
      <vt:lpstr>BlissL</vt:lpstr>
      <vt:lpstr>Calibri</vt:lpstr>
      <vt:lpstr>Calibri Light</vt:lpstr>
      <vt:lpstr>Helvetica</vt:lpstr>
      <vt:lpstr>Wingdings</vt:lpstr>
      <vt:lpstr>Tema do Office</vt:lpstr>
      <vt:lpstr>Slide do think-cell</vt:lpstr>
      <vt:lpstr>Apresentação do PowerPoint</vt:lpstr>
      <vt:lpstr>Defesa da Concorrência </vt:lpstr>
      <vt:lpstr>Defesa da Concorrência </vt:lpstr>
      <vt:lpstr>Pauta </vt:lpstr>
      <vt:lpstr>Apresentação do PowerPoint</vt:lpstr>
      <vt:lpstr>Apresentação do PowerPoint</vt:lpstr>
      <vt:lpstr>Apresentação do PowerPoint</vt:lpstr>
      <vt:lpstr>Atualizações/destaques</vt:lpstr>
      <vt:lpstr>Tabela de Responsabilização CEF</vt:lpstr>
      <vt:lpstr>Tabela de Resp. -  CEF -  Acionamento das Garantia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Distratos - Para minimizar efeitos de forma imediata </vt:lpstr>
      <vt:lpstr>Modelo de vendas</vt:lpstr>
      <vt:lpstr>Modelo de venda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emissas </vt:lpstr>
      <vt:lpstr>Etapas da Operação...</vt:lpstr>
      <vt:lpstr>Apresentação do PowerPoint</vt:lpstr>
      <vt:lpstr>Apresentação do PowerPoint</vt:lpstr>
      <vt:lpstr>Apresentação do PowerPoint</vt:lpstr>
      <vt:lpstr>Apresentação do PowerPoint</vt:lpstr>
      <vt:lpstr>Contrato Cyrela - PCV</vt:lpstr>
      <vt:lpstr>Contrato Terreno </vt:lpstr>
      <vt:lpstr>Contrato Obra</vt:lpstr>
    </vt:vector>
  </TitlesOfParts>
  <Company>BorghierhLow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arissa.santos</dc:creator>
  <cp:lastModifiedBy>Renato Ventura</cp:lastModifiedBy>
  <cp:revision>3872</cp:revision>
  <dcterms:created xsi:type="dcterms:W3CDTF">2009-08-13T21:08:28Z</dcterms:created>
  <dcterms:modified xsi:type="dcterms:W3CDTF">2015-03-20T19:42:37Z</dcterms:modified>
</cp:coreProperties>
</file>